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6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5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7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drawings/drawing1.xml" ContentType="application/vnd.openxmlformats-officedocument.drawingml.chartshape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heme/themeOverride1.xml" ContentType="application/vnd.openxmlformats-officedocument.themeOverr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740" r:id="rId2"/>
    <p:sldMasterId id="2147483750" r:id="rId3"/>
    <p:sldMasterId id="2147483776" r:id="rId4"/>
    <p:sldMasterId id="2147483787" r:id="rId5"/>
    <p:sldMasterId id="2147483797" r:id="rId6"/>
    <p:sldMasterId id="2147483805" r:id="rId7"/>
    <p:sldMasterId id="2147483818" r:id="rId8"/>
  </p:sldMasterIdLst>
  <p:notesMasterIdLst>
    <p:notesMasterId r:id="rId44"/>
  </p:notesMasterIdLst>
  <p:sldIdLst>
    <p:sldId id="1751" r:id="rId9"/>
    <p:sldId id="1712" r:id="rId10"/>
    <p:sldId id="1717" r:id="rId11"/>
    <p:sldId id="1753" r:id="rId12"/>
    <p:sldId id="1756" r:id="rId13"/>
    <p:sldId id="1715" r:id="rId14"/>
    <p:sldId id="1757" r:id="rId15"/>
    <p:sldId id="1759" r:id="rId16"/>
    <p:sldId id="1720" r:id="rId17"/>
    <p:sldId id="1716" r:id="rId18"/>
    <p:sldId id="1721" r:id="rId19"/>
    <p:sldId id="1777" r:id="rId20"/>
    <p:sldId id="1778" r:id="rId21"/>
    <p:sldId id="1779" r:id="rId22"/>
    <p:sldId id="1780" r:id="rId23"/>
    <p:sldId id="1781" r:id="rId24"/>
    <p:sldId id="1784" r:id="rId25"/>
    <p:sldId id="1783" r:id="rId26"/>
    <p:sldId id="1788" r:id="rId27"/>
    <p:sldId id="1786" r:id="rId28"/>
    <p:sldId id="1787" r:id="rId29"/>
    <p:sldId id="1789" r:id="rId30"/>
    <p:sldId id="1790" r:id="rId31"/>
    <p:sldId id="1791" r:id="rId32"/>
    <p:sldId id="1792" r:id="rId33"/>
    <p:sldId id="1793" r:id="rId34"/>
    <p:sldId id="1794" r:id="rId35"/>
    <p:sldId id="1795" r:id="rId36"/>
    <p:sldId id="1796" r:id="rId37"/>
    <p:sldId id="1797" r:id="rId38"/>
    <p:sldId id="1802" r:id="rId39"/>
    <p:sldId id="1799" r:id="rId40"/>
    <p:sldId id="1800" r:id="rId41"/>
    <p:sldId id="1801" r:id="rId42"/>
    <p:sldId id="1776" r:id="rId43"/>
  </p:sldIdLst>
  <p:sldSz cx="12192000" cy="6858000"/>
  <p:notesSz cx="6858000" cy="9144000"/>
  <p:embeddedFontLst>
    <p:embeddedFont>
      <p:font typeface="Arial Black" panose="020B0A04020102020204" pitchFamily="34" charset="0"/>
      <p:bold r:id="rId45"/>
    </p:embeddedFont>
    <p:embeddedFont>
      <p:font typeface="Calibri Light" panose="020F0302020204030204" pitchFamily="34" charset="0"/>
      <p:regular r:id="rId46"/>
      <p:italic r:id="rId47"/>
    </p:embeddedFont>
    <p:embeddedFont>
      <p:font typeface="Calibri" panose="020F0502020204030204" pitchFamily="34" charset="0"/>
      <p:regular r:id="rId48"/>
      <p:bold r:id="rId49"/>
      <p:italic r:id="rId50"/>
      <p:boldItalic r:id="rId51"/>
    </p:embeddedFont>
  </p:embeddedFontLst>
  <p:custDataLst>
    <p:tags r:id="rId52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CCCE"/>
    <a:srgbClr val="595353"/>
    <a:srgbClr val="C00000"/>
    <a:srgbClr val="00FF00"/>
    <a:srgbClr val="0000FF"/>
    <a:srgbClr val="305983"/>
    <a:srgbClr val="9E0D34"/>
    <a:srgbClr val="FF33CC"/>
    <a:srgbClr val="B0C2E5"/>
    <a:srgbClr val="719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60" autoAdjust="0"/>
    <p:restoredTop sz="96327" autoAdjust="0"/>
  </p:normalViewPr>
  <p:slideViewPr>
    <p:cSldViewPr snapToGrid="0">
      <p:cViewPr varScale="1">
        <p:scale>
          <a:sx n="111" d="100"/>
          <a:sy n="111" d="100"/>
        </p:scale>
        <p:origin x="840" y="114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font" Target="fonts/font3.fntdata"/><Relationship Id="rId50" Type="http://schemas.openxmlformats.org/officeDocument/2006/relationships/font" Target="fonts/font6.fntdata"/><Relationship Id="rId55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font" Target="fonts/font2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font" Target="fonts/font1.fntdata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font" Target="fonts/font5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notesMaster" Target="notesMasters/notesMaster1.xml"/><Relationship Id="rId52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font" Target="fonts/font4.fntdata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font" Target="fonts/font7.fntdata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chartUserShapes" Target="../drawings/drawing1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package" Target="../embeddings/List_aplikace_Microsoft_Excel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2:$A$179</c:f>
              <c:numCache>
                <c:formatCode>m/d/yyyy</c:formatCode>
                <c:ptCount val="118"/>
                <c:pt idx="0">
                  <c:v>44196</c:v>
                </c:pt>
                <c:pt idx="1">
                  <c:v>44197</c:v>
                </c:pt>
                <c:pt idx="2">
                  <c:v>44198</c:v>
                </c:pt>
                <c:pt idx="3">
                  <c:v>44199</c:v>
                </c:pt>
                <c:pt idx="4">
                  <c:v>44200</c:v>
                </c:pt>
                <c:pt idx="5">
                  <c:v>44201</c:v>
                </c:pt>
                <c:pt idx="6">
                  <c:v>44202</c:v>
                </c:pt>
                <c:pt idx="7">
                  <c:v>44203</c:v>
                </c:pt>
                <c:pt idx="8">
                  <c:v>44204</c:v>
                </c:pt>
                <c:pt idx="9">
                  <c:v>44205</c:v>
                </c:pt>
                <c:pt idx="10">
                  <c:v>44206</c:v>
                </c:pt>
                <c:pt idx="11">
                  <c:v>44207</c:v>
                </c:pt>
                <c:pt idx="12">
                  <c:v>44208</c:v>
                </c:pt>
                <c:pt idx="13">
                  <c:v>44209</c:v>
                </c:pt>
                <c:pt idx="14">
                  <c:v>44210</c:v>
                </c:pt>
                <c:pt idx="15">
                  <c:v>44211</c:v>
                </c:pt>
                <c:pt idx="16">
                  <c:v>44212</c:v>
                </c:pt>
                <c:pt idx="17">
                  <c:v>44213</c:v>
                </c:pt>
                <c:pt idx="18">
                  <c:v>44214</c:v>
                </c:pt>
                <c:pt idx="19">
                  <c:v>44215</c:v>
                </c:pt>
                <c:pt idx="20">
                  <c:v>44216</c:v>
                </c:pt>
                <c:pt idx="21">
                  <c:v>44217</c:v>
                </c:pt>
                <c:pt idx="22">
                  <c:v>44218</c:v>
                </c:pt>
                <c:pt idx="23">
                  <c:v>44219</c:v>
                </c:pt>
                <c:pt idx="24">
                  <c:v>44220</c:v>
                </c:pt>
                <c:pt idx="25">
                  <c:v>44221</c:v>
                </c:pt>
                <c:pt idx="26">
                  <c:v>44222</c:v>
                </c:pt>
                <c:pt idx="27">
                  <c:v>44223</c:v>
                </c:pt>
                <c:pt idx="28">
                  <c:v>44224</c:v>
                </c:pt>
                <c:pt idx="29">
                  <c:v>44225</c:v>
                </c:pt>
                <c:pt idx="30">
                  <c:v>44226</c:v>
                </c:pt>
                <c:pt idx="31">
                  <c:v>44227</c:v>
                </c:pt>
                <c:pt idx="32">
                  <c:v>44228</c:v>
                </c:pt>
                <c:pt idx="33">
                  <c:v>44229</c:v>
                </c:pt>
                <c:pt idx="34">
                  <c:v>44230</c:v>
                </c:pt>
                <c:pt idx="35">
                  <c:v>44231</c:v>
                </c:pt>
                <c:pt idx="36">
                  <c:v>44232</c:v>
                </c:pt>
                <c:pt idx="37">
                  <c:v>44233</c:v>
                </c:pt>
                <c:pt idx="38">
                  <c:v>44234</c:v>
                </c:pt>
                <c:pt idx="39">
                  <c:v>44235</c:v>
                </c:pt>
                <c:pt idx="40">
                  <c:v>44236</c:v>
                </c:pt>
                <c:pt idx="41">
                  <c:v>44237</c:v>
                </c:pt>
                <c:pt idx="42">
                  <c:v>44238</c:v>
                </c:pt>
                <c:pt idx="43">
                  <c:v>44239</c:v>
                </c:pt>
                <c:pt idx="44">
                  <c:v>44240</c:v>
                </c:pt>
                <c:pt idx="45">
                  <c:v>44241</c:v>
                </c:pt>
                <c:pt idx="46">
                  <c:v>44242</c:v>
                </c:pt>
                <c:pt idx="47">
                  <c:v>44243</c:v>
                </c:pt>
                <c:pt idx="48">
                  <c:v>44244</c:v>
                </c:pt>
                <c:pt idx="49">
                  <c:v>44245</c:v>
                </c:pt>
                <c:pt idx="50">
                  <c:v>44246</c:v>
                </c:pt>
                <c:pt idx="51">
                  <c:v>44247</c:v>
                </c:pt>
                <c:pt idx="52">
                  <c:v>44248</c:v>
                </c:pt>
                <c:pt idx="53">
                  <c:v>44249</c:v>
                </c:pt>
                <c:pt idx="54">
                  <c:v>44250</c:v>
                </c:pt>
                <c:pt idx="55">
                  <c:v>44251</c:v>
                </c:pt>
                <c:pt idx="56">
                  <c:v>44252</c:v>
                </c:pt>
                <c:pt idx="57">
                  <c:v>44253</c:v>
                </c:pt>
                <c:pt idx="58">
                  <c:v>44254</c:v>
                </c:pt>
                <c:pt idx="59">
                  <c:v>44255</c:v>
                </c:pt>
                <c:pt idx="60">
                  <c:v>44256</c:v>
                </c:pt>
                <c:pt idx="61">
                  <c:v>44257</c:v>
                </c:pt>
                <c:pt idx="62">
                  <c:v>44258</c:v>
                </c:pt>
                <c:pt idx="63">
                  <c:v>44259</c:v>
                </c:pt>
                <c:pt idx="64">
                  <c:v>44260</c:v>
                </c:pt>
                <c:pt idx="65">
                  <c:v>44261</c:v>
                </c:pt>
                <c:pt idx="66">
                  <c:v>44262</c:v>
                </c:pt>
                <c:pt idx="67">
                  <c:v>44263</c:v>
                </c:pt>
                <c:pt idx="68">
                  <c:v>44264</c:v>
                </c:pt>
                <c:pt idx="69">
                  <c:v>44265</c:v>
                </c:pt>
                <c:pt idx="70">
                  <c:v>44266</c:v>
                </c:pt>
                <c:pt idx="71">
                  <c:v>44267</c:v>
                </c:pt>
                <c:pt idx="72">
                  <c:v>44268</c:v>
                </c:pt>
                <c:pt idx="73">
                  <c:v>44269</c:v>
                </c:pt>
                <c:pt idx="74">
                  <c:v>44270</c:v>
                </c:pt>
                <c:pt idx="75">
                  <c:v>44271</c:v>
                </c:pt>
                <c:pt idx="76">
                  <c:v>44272</c:v>
                </c:pt>
                <c:pt idx="77">
                  <c:v>44273</c:v>
                </c:pt>
                <c:pt idx="78">
                  <c:v>44274</c:v>
                </c:pt>
                <c:pt idx="79">
                  <c:v>44275</c:v>
                </c:pt>
                <c:pt idx="80">
                  <c:v>44276</c:v>
                </c:pt>
                <c:pt idx="81">
                  <c:v>44277</c:v>
                </c:pt>
                <c:pt idx="82">
                  <c:v>44278</c:v>
                </c:pt>
                <c:pt idx="83">
                  <c:v>44279</c:v>
                </c:pt>
                <c:pt idx="84">
                  <c:v>44280</c:v>
                </c:pt>
                <c:pt idx="85">
                  <c:v>44281</c:v>
                </c:pt>
                <c:pt idx="86">
                  <c:v>44282</c:v>
                </c:pt>
                <c:pt idx="87">
                  <c:v>44283</c:v>
                </c:pt>
                <c:pt idx="88">
                  <c:v>44284</c:v>
                </c:pt>
                <c:pt idx="89">
                  <c:v>44285</c:v>
                </c:pt>
                <c:pt idx="90">
                  <c:v>44286</c:v>
                </c:pt>
                <c:pt idx="91">
                  <c:v>44287</c:v>
                </c:pt>
                <c:pt idx="92">
                  <c:v>44288</c:v>
                </c:pt>
                <c:pt idx="93">
                  <c:v>44289</c:v>
                </c:pt>
                <c:pt idx="94">
                  <c:v>44290</c:v>
                </c:pt>
                <c:pt idx="95">
                  <c:v>44291</c:v>
                </c:pt>
                <c:pt idx="96">
                  <c:v>44292</c:v>
                </c:pt>
                <c:pt idx="97">
                  <c:v>44293</c:v>
                </c:pt>
                <c:pt idx="98">
                  <c:v>44294</c:v>
                </c:pt>
                <c:pt idx="99">
                  <c:v>44295</c:v>
                </c:pt>
                <c:pt idx="100">
                  <c:v>44296</c:v>
                </c:pt>
                <c:pt idx="101">
                  <c:v>44297</c:v>
                </c:pt>
                <c:pt idx="102">
                  <c:v>44298</c:v>
                </c:pt>
                <c:pt idx="103">
                  <c:v>44299</c:v>
                </c:pt>
                <c:pt idx="104">
                  <c:v>44300</c:v>
                </c:pt>
                <c:pt idx="105">
                  <c:v>44301</c:v>
                </c:pt>
                <c:pt idx="106">
                  <c:v>44302</c:v>
                </c:pt>
                <c:pt idx="107">
                  <c:v>44303</c:v>
                </c:pt>
                <c:pt idx="108">
                  <c:v>44304</c:v>
                </c:pt>
                <c:pt idx="109">
                  <c:v>44305</c:v>
                </c:pt>
                <c:pt idx="110">
                  <c:v>44306</c:v>
                </c:pt>
                <c:pt idx="111">
                  <c:v>44307</c:v>
                </c:pt>
                <c:pt idx="112">
                  <c:v>44308</c:v>
                </c:pt>
                <c:pt idx="113">
                  <c:v>44309</c:v>
                </c:pt>
                <c:pt idx="114">
                  <c:v>44310</c:v>
                </c:pt>
                <c:pt idx="115">
                  <c:v>44311</c:v>
                </c:pt>
                <c:pt idx="116">
                  <c:v>44312</c:v>
                </c:pt>
                <c:pt idx="117">
                  <c:v>44313</c:v>
                </c:pt>
              </c:numCache>
            </c:numRef>
          </c:cat>
          <c:val>
            <c:numRef>
              <c:f>Sheet1!$B$62:$B$179</c:f>
              <c:numCache>
                <c:formatCode>General</c:formatCode>
                <c:ptCount val="118"/>
                <c:pt idx="0">
                  <c:v>13307</c:v>
                </c:pt>
                <c:pt idx="1">
                  <c:v>3446</c:v>
                </c:pt>
                <c:pt idx="2">
                  <c:v>4984</c:v>
                </c:pt>
                <c:pt idx="3">
                  <c:v>6268</c:v>
                </c:pt>
                <c:pt idx="4">
                  <c:v>12956</c:v>
                </c:pt>
                <c:pt idx="5">
                  <c:v>17401</c:v>
                </c:pt>
                <c:pt idx="6">
                  <c:v>17771</c:v>
                </c:pt>
                <c:pt idx="7">
                  <c:v>14882</c:v>
                </c:pt>
                <c:pt idx="8">
                  <c:v>13099</c:v>
                </c:pt>
                <c:pt idx="9">
                  <c:v>8438</c:v>
                </c:pt>
                <c:pt idx="10">
                  <c:v>4313</c:v>
                </c:pt>
                <c:pt idx="11">
                  <c:v>9386</c:v>
                </c:pt>
                <c:pt idx="12">
                  <c:v>10811</c:v>
                </c:pt>
                <c:pt idx="13">
                  <c:v>10920</c:v>
                </c:pt>
                <c:pt idx="14">
                  <c:v>8087</c:v>
                </c:pt>
                <c:pt idx="15">
                  <c:v>9301</c:v>
                </c:pt>
                <c:pt idx="16">
                  <c:v>5242</c:v>
                </c:pt>
                <c:pt idx="17">
                  <c:v>2641</c:v>
                </c:pt>
                <c:pt idx="18">
                  <c:v>7668</c:v>
                </c:pt>
                <c:pt idx="19">
                  <c:v>9610</c:v>
                </c:pt>
                <c:pt idx="20">
                  <c:v>8215</c:v>
                </c:pt>
                <c:pt idx="21">
                  <c:v>7533</c:v>
                </c:pt>
                <c:pt idx="22">
                  <c:v>8468</c:v>
                </c:pt>
                <c:pt idx="23">
                  <c:v>4239</c:v>
                </c:pt>
                <c:pt idx="24">
                  <c:v>2394</c:v>
                </c:pt>
                <c:pt idx="25">
                  <c:v>6974</c:v>
                </c:pt>
                <c:pt idx="26">
                  <c:v>9195</c:v>
                </c:pt>
                <c:pt idx="27">
                  <c:v>8504</c:v>
                </c:pt>
                <c:pt idx="28">
                  <c:v>8010</c:v>
                </c:pt>
                <c:pt idx="29">
                  <c:v>8053</c:v>
                </c:pt>
                <c:pt idx="30">
                  <c:v>4055</c:v>
                </c:pt>
                <c:pt idx="31">
                  <c:v>2573</c:v>
                </c:pt>
                <c:pt idx="32">
                  <c:v>7217</c:v>
                </c:pt>
                <c:pt idx="33">
                  <c:v>9148</c:v>
                </c:pt>
                <c:pt idx="34">
                  <c:v>9667</c:v>
                </c:pt>
                <c:pt idx="35">
                  <c:v>8107</c:v>
                </c:pt>
                <c:pt idx="36">
                  <c:v>8622</c:v>
                </c:pt>
                <c:pt idx="37">
                  <c:v>4820</c:v>
                </c:pt>
                <c:pt idx="38">
                  <c:v>2451</c:v>
                </c:pt>
                <c:pt idx="39">
                  <c:v>7777</c:v>
                </c:pt>
                <c:pt idx="40">
                  <c:v>10283</c:v>
                </c:pt>
                <c:pt idx="41">
                  <c:v>9538</c:v>
                </c:pt>
                <c:pt idx="42">
                  <c:v>9018</c:v>
                </c:pt>
                <c:pt idx="43">
                  <c:v>8830</c:v>
                </c:pt>
                <c:pt idx="44">
                  <c:v>5141</c:v>
                </c:pt>
                <c:pt idx="45">
                  <c:v>2880</c:v>
                </c:pt>
                <c:pt idx="46">
                  <c:v>8905</c:v>
                </c:pt>
                <c:pt idx="47">
                  <c:v>12608</c:v>
                </c:pt>
                <c:pt idx="48">
                  <c:v>10939</c:v>
                </c:pt>
                <c:pt idx="49">
                  <c:v>11704</c:v>
                </c:pt>
                <c:pt idx="50">
                  <c:v>11288</c:v>
                </c:pt>
                <c:pt idx="51">
                  <c:v>6775</c:v>
                </c:pt>
                <c:pt idx="52">
                  <c:v>4068</c:v>
                </c:pt>
                <c:pt idx="53">
                  <c:v>11408</c:v>
                </c:pt>
                <c:pt idx="54">
                  <c:v>15840</c:v>
                </c:pt>
                <c:pt idx="55">
                  <c:v>13796</c:v>
                </c:pt>
                <c:pt idx="56">
                  <c:v>14588</c:v>
                </c:pt>
                <c:pt idx="57">
                  <c:v>14776</c:v>
                </c:pt>
                <c:pt idx="58">
                  <c:v>7824</c:v>
                </c:pt>
                <c:pt idx="59">
                  <c:v>4587</c:v>
                </c:pt>
                <c:pt idx="60">
                  <c:v>12325</c:v>
                </c:pt>
                <c:pt idx="61">
                  <c:v>16777</c:v>
                </c:pt>
                <c:pt idx="62">
                  <c:v>15237</c:v>
                </c:pt>
                <c:pt idx="63">
                  <c:v>14648</c:v>
                </c:pt>
                <c:pt idx="64">
                  <c:v>13169</c:v>
                </c:pt>
                <c:pt idx="65">
                  <c:v>9130</c:v>
                </c:pt>
                <c:pt idx="66">
                  <c:v>3982</c:v>
                </c:pt>
                <c:pt idx="67">
                  <c:v>10653</c:v>
                </c:pt>
                <c:pt idx="68">
                  <c:v>15358</c:v>
                </c:pt>
                <c:pt idx="69">
                  <c:v>14535</c:v>
                </c:pt>
                <c:pt idx="70">
                  <c:v>11245</c:v>
                </c:pt>
                <c:pt idx="71">
                  <c:v>14960</c:v>
                </c:pt>
                <c:pt idx="72">
                  <c:v>6956</c:v>
                </c:pt>
                <c:pt idx="73">
                  <c:v>3332</c:v>
                </c:pt>
                <c:pt idx="74">
                  <c:v>10629</c:v>
                </c:pt>
                <c:pt idx="75">
                  <c:v>14028</c:v>
                </c:pt>
                <c:pt idx="76">
                  <c:v>12027</c:v>
                </c:pt>
                <c:pt idx="77">
                  <c:v>10660</c:v>
                </c:pt>
                <c:pt idx="78">
                  <c:v>9710</c:v>
                </c:pt>
                <c:pt idx="79">
                  <c:v>5466</c:v>
                </c:pt>
                <c:pt idx="80">
                  <c:v>2390</c:v>
                </c:pt>
                <c:pt idx="81">
                  <c:v>8240</c:v>
                </c:pt>
                <c:pt idx="82">
                  <c:v>10968</c:v>
                </c:pt>
                <c:pt idx="83">
                  <c:v>8847</c:v>
                </c:pt>
                <c:pt idx="84">
                  <c:v>7925</c:v>
                </c:pt>
                <c:pt idx="85">
                  <c:v>7710</c:v>
                </c:pt>
                <c:pt idx="86">
                  <c:v>3969</c:v>
                </c:pt>
                <c:pt idx="87">
                  <c:v>1743</c:v>
                </c:pt>
                <c:pt idx="88">
                  <c:v>6935</c:v>
                </c:pt>
                <c:pt idx="89">
                  <c:v>8630</c:v>
                </c:pt>
                <c:pt idx="90">
                  <c:v>7262</c:v>
                </c:pt>
                <c:pt idx="91">
                  <c:v>6244</c:v>
                </c:pt>
                <c:pt idx="92">
                  <c:v>3837</c:v>
                </c:pt>
                <c:pt idx="93">
                  <c:v>2160</c:v>
                </c:pt>
                <c:pt idx="94">
                  <c:v>1925</c:v>
                </c:pt>
                <c:pt idx="95">
                  <c:v>1419</c:v>
                </c:pt>
                <c:pt idx="96">
                  <c:v>5580</c:v>
                </c:pt>
                <c:pt idx="97">
                  <c:v>7051</c:v>
                </c:pt>
                <c:pt idx="98">
                  <c:v>5282</c:v>
                </c:pt>
                <c:pt idx="99">
                  <c:v>4819</c:v>
                </c:pt>
                <c:pt idx="100">
                  <c:v>2204</c:v>
                </c:pt>
                <c:pt idx="101">
                  <c:v>986</c:v>
                </c:pt>
                <c:pt idx="102">
                  <c:v>3868</c:v>
                </c:pt>
                <c:pt idx="103">
                  <c:v>5056</c:v>
                </c:pt>
                <c:pt idx="104">
                  <c:v>3715</c:v>
                </c:pt>
                <c:pt idx="105">
                  <c:v>3264</c:v>
                </c:pt>
                <c:pt idx="106">
                  <c:v>3215</c:v>
                </c:pt>
                <c:pt idx="107">
                  <c:v>1541</c:v>
                </c:pt>
                <c:pt idx="108">
                  <c:v>833</c:v>
                </c:pt>
                <c:pt idx="109">
                  <c:v>3337</c:v>
                </c:pt>
                <c:pt idx="110">
                  <c:v>3816</c:v>
                </c:pt>
                <c:pt idx="111">
                  <c:v>2950</c:v>
                </c:pt>
                <c:pt idx="112">
                  <c:v>2627</c:v>
                </c:pt>
                <c:pt idx="113">
                  <c:v>2596</c:v>
                </c:pt>
                <c:pt idx="114">
                  <c:v>1304</c:v>
                </c:pt>
                <c:pt idx="115">
                  <c:v>823</c:v>
                </c:pt>
                <c:pt idx="116">
                  <c:v>2560</c:v>
                </c:pt>
                <c:pt idx="117">
                  <c:v>32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9B-4FBB-A2AC-E8BB2DFAE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3.5150502573499692E-2"/>
          <c:w val="0.7773224572899825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235.39835766134632</c:v>
                </c:pt>
                <c:pt idx="1">
                  <c:v>313.27847151046984</c:v>
                </c:pt>
                <c:pt idx="2">
                  <c:v>309.41083605972335</c:v>
                </c:pt>
                <c:pt idx="3">
                  <c:v>286.90822980083436</c:v>
                </c:pt>
                <c:pt idx="4">
                  <c:v>301.67556515823026</c:v>
                </c:pt>
                <c:pt idx="5">
                  <c:v>328.04580686786574</c:v>
                </c:pt>
                <c:pt idx="6">
                  <c:v>346.68077767600818</c:v>
                </c:pt>
                <c:pt idx="7">
                  <c:v>456.20518157669432</c:v>
                </c:pt>
                <c:pt idx="8">
                  <c:v>541.99636793870854</c:v>
                </c:pt>
                <c:pt idx="9">
                  <c:v>501.73779892866497</c:v>
                </c:pt>
                <c:pt idx="10">
                  <c:v>410.84836583612127</c:v>
                </c:pt>
                <c:pt idx="11">
                  <c:v>335.95687938075639</c:v>
                </c:pt>
                <c:pt idx="12">
                  <c:v>283.5679991842805</c:v>
                </c:pt>
                <c:pt idx="13">
                  <c:v>174.21939689499195</c:v>
                </c:pt>
                <c:pt idx="14">
                  <c:v>172.10977755822111</c:v>
                </c:pt>
                <c:pt idx="15">
                  <c:v>147.32175035116373</c:v>
                </c:pt>
                <c:pt idx="16">
                  <c:v>106.35997489552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3:$R$3</c:f>
              <c:numCache>
                <c:formatCode>###0</c:formatCode>
                <c:ptCount val="17"/>
                <c:pt idx="0">
                  <c:v>387.85463732254237</c:v>
                </c:pt>
                <c:pt idx="1">
                  <c:v>466.8345969302876</c:v>
                </c:pt>
                <c:pt idx="2">
                  <c:v>407.50692774137099</c:v>
                </c:pt>
                <c:pt idx="3">
                  <c:v>371.16873036315957</c:v>
                </c:pt>
                <c:pt idx="4">
                  <c:v>370.67433311991857</c:v>
                </c:pt>
                <c:pt idx="5">
                  <c:v>399.72017116032566</c:v>
                </c:pt>
                <c:pt idx="6">
                  <c:v>450.3958885925253</c:v>
                </c:pt>
                <c:pt idx="7">
                  <c:v>582.02915460543397</c:v>
                </c:pt>
                <c:pt idx="8">
                  <c:v>685.97617499684827</c:v>
                </c:pt>
                <c:pt idx="9">
                  <c:v>589.8159111864793</c:v>
                </c:pt>
                <c:pt idx="10">
                  <c:v>499.21761636257122</c:v>
                </c:pt>
                <c:pt idx="11">
                  <c:v>399.72017116032566</c:v>
                </c:pt>
                <c:pt idx="12">
                  <c:v>313.44785221477611</c:v>
                </c:pt>
                <c:pt idx="13">
                  <c:v>202.82646903960867</c:v>
                </c:pt>
                <c:pt idx="14">
                  <c:v>205.29845525581354</c:v>
                </c:pt>
                <c:pt idx="15">
                  <c:v>179.3425999856625</c:v>
                </c:pt>
                <c:pt idx="16">
                  <c:v>154.004741269562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4:$R$4</c:f>
              <c:numCache>
                <c:formatCode>###0</c:formatCode>
                <c:ptCount val="17"/>
                <c:pt idx="0">
                  <c:v>573.09065420445415</c:v>
                </c:pt>
                <c:pt idx="1">
                  <c:v>679.09514859756916</c:v>
                </c:pt>
                <c:pt idx="2">
                  <c:v>415.13285115068555</c:v>
                </c:pt>
                <c:pt idx="3">
                  <c:v>347.63057125192665</c:v>
                </c:pt>
                <c:pt idx="4">
                  <c:v>361.32847448549563</c:v>
                </c:pt>
                <c:pt idx="5">
                  <c:v>366.14125129729018</c:v>
                </c:pt>
                <c:pt idx="6">
                  <c:v>418.09455995794372</c:v>
                </c:pt>
                <c:pt idx="7">
                  <c:v>520.15010927471451</c:v>
                </c:pt>
                <c:pt idx="8">
                  <c:v>646.63975625136516</c:v>
                </c:pt>
                <c:pt idx="9">
                  <c:v>668.35895417125835</c:v>
                </c:pt>
                <c:pt idx="10">
                  <c:v>649.60146505862338</c:v>
                </c:pt>
                <c:pt idx="11">
                  <c:v>539.52462105552831</c:v>
                </c:pt>
                <c:pt idx="12">
                  <c:v>416.73711008795038</c:v>
                </c:pt>
                <c:pt idx="13">
                  <c:v>257.54526169782423</c:v>
                </c:pt>
                <c:pt idx="14">
                  <c:v>267.41762438868477</c:v>
                </c:pt>
                <c:pt idx="15">
                  <c:v>198.80470368720407</c:v>
                </c:pt>
                <c:pt idx="16">
                  <c:v>153.268430775609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5:$R$5</c:f>
              <c:numCache>
                <c:formatCode>###0</c:formatCode>
                <c:ptCount val="17"/>
                <c:pt idx="0">
                  <c:v>416.82051994486875</c:v>
                </c:pt>
                <c:pt idx="1">
                  <c:v>505.52226637760532</c:v>
                </c:pt>
                <c:pt idx="2">
                  <c:v>384.83122447711213</c:v>
                </c:pt>
                <c:pt idx="3">
                  <c:v>340.54889975103191</c:v>
                </c:pt>
                <c:pt idx="4">
                  <c:v>349.27740751437688</c:v>
                </c:pt>
                <c:pt idx="5">
                  <c:v>368.65378076913237</c:v>
                </c:pt>
                <c:pt idx="6">
                  <c:v>411.47373770240085</c:v>
                </c:pt>
                <c:pt idx="7">
                  <c:v>526.40670641869781</c:v>
                </c:pt>
                <c:pt idx="8">
                  <c:v>633.98213717741078</c:v>
                </c:pt>
                <c:pt idx="9">
                  <c:v>596.00627355783115</c:v>
                </c:pt>
                <c:pt idx="10">
                  <c:v>531.93628463526716</c:v>
                </c:pt>
                <c:pt idx="11">
                  <c:v>434.9173213809139</c:v>
                </c:pt>
                <c:pt idx="12">
                  <c:v>343.93062527190904</c:v>
                </c:pt>
                <c:pt idx="13">
                  <c:v>215.65355044620497</c:v>
                </c:pt>
                <c:pt idx="14">
                  <c:v>219.67506187643724</c:v>
                </c:pt>
                <c:pt idx="15">
                  <c:v>178.22607474892973</c:v>
                </c:pt>
                <c:pt idx="16">
                  <c:v>141.346986973958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6:$R$6</c:f>
              <c:numCache>
                <c:formatCode>###0</c:formatCode>
                <c:ptCount val="17"/>
                <c:pt idx="0">
                  <c:v>684.40637261911161</c:v>
                </c:pt>
                <c:pt idx="1">
                  <c:v>784.70617795744454</c:v>
                </c:pt>
                <c:pt idx="2">
                  <c:v>502.05074107866488</c:v>
                </c:pt>
                <c:pt idx="3">
                  <c:v>435.32135352558413</c:v>
                </c:pt>
                <c:pt idx="4">
                  <c:v>435.73280154300784</c:v>
                </c:pt>
                <c:pt idx="5">
                  <c:v>459.62483982749791</c:v>
                </c:pt>
                <c:pt idx="6">
                  <c:v>491.93286028656377</c:v>
                </c:pt>
                <c:pt idx="7">
                  <c:v>615.18959477887847</c:v>
                </c:pt>
                <c:pt idx="8">
                  <c:v>740.28849425829469</c:v>
                </c:pt>
                <c:pt idx="9">
                  <c:v>736.00569444056612</c:v>
                </c:pt>
                <c:pt idx="10">
                  <c:v>678.61804710126444</c:v>
                </c:pt>
                <c:pt idx="11">
                  <c:v>551.92946209998388</c:v>
                </c:pt>
                <c:pt idx="12">
                  <c:v>430.3652751338895</c:v>
                </c:pt>
                <c:pt idx="13">
                  <c:v>279.94362040030529</c:v>
                </c:pt>
                <c:pt idx="14">
                  <c:v>267.70304188195007</c:v>
                </c:pt>
                <c:pt idx="15">
                  <c:v>188.34968106700569</c:v>
                </c:pt>
                <c:pt idx="16">
                  <c:v>149.00028885521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Pardubický kraj</c:v>
                </c:pt>
                <c:pt idx="4">
                  <c:v>Jihomoravský kraj</c:v>
                </c:pt>
                <c:pt idx="5">
                  <c:v>Ústecký kraj</c:v>
                </c:pt>
                <c:pt idx="6">
                  <c:v>ČR</c:v>
                </c:pt>
                <c:pt idx="7">
                  <c:v>Olomoucký kraj</c:v>
                </c:pt>
                <c:pt idx="8">
                  <c:v>Liberecký kraj</c:v>
                </c:pt>
                <c:pt idx="9">
                  <c:v>Plzeňs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52.25809586278939</c:v>
                </c:pt>
                <c:pt idx="1">
                  <c:v>472.05123939444354</c:v>
                </c:pt>
                <c:pt idx="2">
                  <c:v>279.44620950349019</c:v>
                </c:pt>
                <c:pt idx="3">
                  <c:v>426.79342687009637</c:v>
                </c:pt>
                <c:pt idx="4">
                  <c:v>289.05282189212414</c:v>
                </c:pt>
                <c:pt idx="5">
                  <c:v>443.56120826709059</c:v>
                </c:pt>
                <c:pt idx="6">
                  <c:v>296.63834594458308</c:v>
                </c:pt>
                <c:pt idx="7">
                  <c:v>305.58006412877404</c:v>
                </c:pt>
                <c:pt idx="8">
                  <c:v>365.38684607354134</c:v>
                </c:pt>
                <c:pt idx="9">
                  <c:v>321.96048456211059</c:v>
                </c:pt>
                <c:pt idx="10">
                  <c:v>278.98793565683644</c:v>
                </c:pt>
                <c:pt idx="11">
                  <c:v>189.12339295414765</c:v>
                </c:pt>
                <c:pt idx="12">
                  <c:v>119.19919811448541</c:v>
                </c:pt>
                <c:pt idx="13">
                  <c:v>211.54129974910217</c:v>
                </c:pt>
                <c:pt idx="14">
                  <c:v>97.756261055767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Pardubický kraj</c:v>
                </c:pt>
                <c:pt idx="4">
                  <c:v>Jihomoravský kraj</c:v>
                </c:pt>
                <c:pt idx="5">
                  <c:v>Ústecký kraj</c:v>
                </c:pt>
                <c:pt idx="6">
                  <c:v>ČR</c:v>
                </c:pt>
                <c:pt idx="7">
                  <c:v>Olomoucký kraj</c:v>
                </c:pt>
                <c:pt idx="8">
                  <c:v>Liberecký kraj</c:v>
                </c:pt>
                <c:pt idx="9">
                  <c:v>Plzeňs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08.52950465223626</c:v>
                </c:pt>
                <c:pt idx="1">
                  <c:v>332.72334054233903</c:v>
                </c:pt>
                <c:pt idx="2">
                  <c:v>231.90556805268895</c:v>
                </c:pt>
                <c:pt idx="3">
                  <c:v>339.90135193845998</c:v>
                </c:pt>
                <c:pt idx="4">
                  <c:v>206.46630135151725</c:v>
                </c:pt>
                <c:pt idx="5">
                  <c:v>271.86009538950714</c:v>
                </c:pt>
                <c:pt idx="6">
                  <c:v>209.37723251255153</c:v>
                </c:pt>
                <c:pt idx="7">
                  <c:v>243.17286793346102</c:v>
                </c:pt>
                <c:pt idx="8">
                  <c:v>234.89154390441945</c:v>
                </c:pt>
                <c:pt idx="9">
                  <c:v>155.18958608389502</c:v>
                </c:pt>
                <c:pt idx="10">
                  <c:v>171.74932975871315</c:v>
                </c:pt>
                <c:pt idx="11">
                  <c:v>130.77681427680423</c:v>
                </c:pt>
                <c:pt idx="12">
                  <c:v>135.45363422100615</c:v>
                </c:pt>
                <c:pt idx="13">
                  <c:v>118.06956265066168</c:v>
                </c:pt>
                <c:pt idx="14">
                  <c:v>102.411321106042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4.4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Pardubický kraj</c:v>
                </c:pt>
                <c:pt idx="4">
                  <c:v>Jihomoravský kraj</c:v>
                </c:pt>
                <c:pt idx="5">
                  <c:v>Ústecký kraj</c:v>
                </c:pt>
                <c:pt idx="6">
                  <c:v>ČR</c:v>
                </c:pt>
                <c:pt idx="7">
                  <c:v>Olomoucký kraj</c:v>
                </c:pt>
                <c:pt idx="8">
                  <c:v>Liberecký kraj</c:v>
                </c:pt>
                <c:pt idx="9">
                  <c:v>Plzeňs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323.10570172242063</c:v>
                </c:pt>
                <c:pt idx="1">
                  <c:v>259.94010979870239</c:v>
                </c:pt>
                <c:pt idx="2">
                  <c:v>222.6293453305814</c:v>
                </c:pt>
                <c:pt idx="3">
                  <c:v>209.5632395410054</c:v>
                </c:pt>
                <c:pt idx="4">
                  <c:v>198.65406292200038</c:v>
                </c:pt>
                <c:pt idx="5">
                  <c:v>171.70111287758345</c:v>
                </c:pt>
                <c:pt idx="6">
                  <c:v>154.00474126956271</c:v>
                </c:pt>
                <c:pt idx="7">
                  <c:v>150.63805978179002</c:v>
                </c:pt>
                <c:pt idx="8">
                  <c:v>133.39519777288018</c:v>
                </c:pt>
                <c:pt idx="9">
                  <c:v>113.49686146434114</c:v>
                </c:pt>
                <c:pt idx="10">
                  <c:v>102.21179624664879</c:v>
                </c:pt>
                <c:pt idx="11">
                  <c:v>80.478039554956439</c:v>
                </c:pt>
                <c:pt idx="12">
                  <c:v>73.14496247934332</c:v>
                </c:pt>
                <c:pt idx="13">
                  <c:v>71.333694101441438</c:v>
                </c:pt>
                <c:pt idx="14">
                  <c:v>18.6202402010985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Pardubický kraj</c:v>
                </c:pt>
                <c:pt idx="4">
                  <c:v>Jihomoravský kraj</c:v>
                </c:pt>
                <c:pt idx="5">
                  <c:v>Ústecký kraj</c:v>
                </c:pt>
                <c:pt idx="6">
                  <c:v>ČR</c:v>
                </c:pt>
                <c:pt idx="7">
                  <c:v>Olomoucký kraj</c:v>
                </c:pt>
                <c:pt idx="8">
                  <c:v>Liberecký kraj</c:v>
                </c:pt>
                <c:pt idx="9">
                  <c:v>Plzeňs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23.10570172242063</c:v>
                </c:pt>
                <c:pt idx="1">
                  <c:v>259.94010979870239</c:v>
                </c:pt>
                <c:pt idx="2">
                  <c:v>222.6293453305814</c:v>
                </c:pt>
                <c:pt idx="3">
                  <c:v>209.5632395410054</c:v>
                </c:pt>
                <c:pt idx="4">
                  <c:v>198.65406292200038</c:v>
                </c:pt>
                <c:pt idx="5">
                  <c:v>171.70111287758345</c:v>
                </c:pt>
                <c:pt idx="6">
                  <c:v>154.00474126956271</c:v>
                </c:pt>
                <c:pt idx="7">
                  <c:v>150.63805978179002</c:v>
                </c:pt>
                <c:pt idx="8">
                  <c:v>133.39519777288018</c:v>
                </c:pt>
                <c:pt idx="9">
                  <c:v>113.49686146434114</c:v>
                </c:pt>
                <c:pt idx="10">
                  <c:v>102.21179624664879</c:v>
                </c:pt>
                <c:pt idx="11">
                  <c:v>80.478039554956439</c:v>
                </c:pt>
                <c:pt idx="12">
                  <c:v>73.14496247934332</c:v>
                </c:pt>
                <c:pt idx="13">
                  <c:v>71.333694101441438</c:v>
                </c:pt>
                <c:pt idx="14">
                  <c:v>18.6202402010985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:$A$101</c:f>
              <c:numCache>
                <c:formatCode>m/d/yyyy</c:formatCode>
                <c:ptCount val="10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</c:numCache>
            </c:numRef>
          </c:cat>
          <c:val>
            <c:numRef>
              <c:f>Sheet1!$B$1:$B$101</c:f>
              <c:numCache>
                <c:formatCode>General</c:formatCode>
                <c:ptCount val="101"/>
                <c:pt idx="0">
                  <c:v>54918</c:v>
                </c:pt>
                <c:pt idx="1">
                  <c:v>33695</c:v>
                </c:pt>
                <c:pt idx="2">
                  <c:v>33053</c:v>
                </c:pt>
                <c:pt idx="3">
                  <c:v>33762</c:v>
                </c:pt>
                <c:pt idx="4">
                  <c:v>36436</c:v>
                </c:pt>
                <c:pt idx="5">
                  <c:v>17178</c:v>
                </c:pt>
                <c:pt idx="6">
                  <c:v>16718</c:v>
                </c:pt>
                <c:pt idx="7">
                  <c:v>55381</c:v>
                </c:pt>
                <c:pt idx="8">
                  <c:v>36812</c:v>
                </c:pt>
                <c:pt idx="9">
                  <c:v>34876</c:v>
                </c:pt>
                <c:pt idx="10">
                  <c:v>35393</c:v>
                </c:pt>
                <c:pt idx="11">
                  <c:v>40556</c:v>
                </c:pt>
                <c:pt idx="12">
                  <c:v>19473</c:v>
                </c:pt>
                <c:pt idx="13">
                  <c:v>20509</c:v>
                </c:pt>
                <c:pt idx="14">
                  <c:v>63425</c:v>
                </c:pt>
                <c:pt idx="15">
                  <c:v>44503</c:v>
                </c:pt>
                <c:pt idx="16">
                  <c:v>43197</c:v>
                </c:pt>
                <c:pt idx="17">
                  <c:v>44887</c:v>
                </c:pt>
                <c:pt idx="18">
                  <c:v>48896</c:v>
                </c:pt>
                <c:pt idx="19">
                  <c:v>21199</c:v>
                </c:pt>
                <c:pt idx="20">
                  <c:v>25388</c:v>
                </c:pt>
                <c:pt idx="21">
                  <c:v>74954</c:v>
                </c:pt>
                <c:pt idx="22">
                  <c:v>55865</c:v>
                </c:pt>
                <c:pt idx="23">
                  <c:v>56893</c:v>
                </c:pt>
                <c:pt idx="24">
                  <c:v>57005</c:v>
                </c:pt>
                <c:pt idx="25">
                  <c:v>60696</c:v>
                </c:pt>
                <c:pt idx="26">
                  <c:v>27232</c:v>
                </c:pt>
                <c:pt idx="27">
                  <c:v>28409</c:v>
                </c:pt>
                <c:pt idx="28">
                  <c:v>90347</c:v>
                </c:pt>
                <c:pt idx="29">
                  <c:v>70652</c:v>
                </c:pt>
                <c:pt idx="30">
                  <c:v>73355</c:v>
                </c:pt>
                <c:pt idx="31">
                  <c:v>86277</c:v>
                </c:pt>
                <c:pt idx="32">
                  <c:v>91584</c:v>
                </c:pt>
                <c:pt idx="33">
                  <c:v>35019</c:v>
                </c:pt>
                <c:pt idx="34">
                  <c:v>35288</c:v>
                </c:pt>
                <c:pt idx="35">
                  <c:v>163890</c:v>
                </c:pt>
                <c:pt idx="36">
                  <c:v>160429</c:v>
                </c:pt>
                <c:pt idx="37">
                  <c:v>163290</c:v>
                </c:pt>
                <c:pt idx="38">
                  <c:v>177907</c:v>
                </c:pt>
                <c:pt idx="39">
                  <c:v>150696</c:v>
                </c:pt>
                <c:pt idx="40">
                  <c:v>48509</c:v>
                </c:pt>
                <c:pt idx="41">
                  <c:v>51037</c:v>
                </c:pt>
                <c:pt idx="42">
                  <c:v>220411</c:v>
                </c:pt>
                <c:pt idx="43">
                  <c:v>187578</c:v>
                </c:pt>
                <c:pt idx="44">
                  <c:v>183143</c:v>
                </c:pt>
                <c:pt idx="45">
                  <c:v>179584</c:v>
                </c:pt>
                <c:pt idx="46">
                  <c:v>149335</c:v>
                </c:pt>
                <c:pt idx="47">
                  <c:v>47222</c:v>
                </c:pt>
                <c:pt idx="48">
                  <c:v>50563</c:v>
                </c:pt>
                <c:pt idx="49">
                  <c:v>239363</c:v>
                </c:pt>
                <c:pt idx="50">
                  <c:v>209756</c:v>
                </c:pt>
                <c:pt idx="51">
                  <c:v>196740</c:v>
                </c:pt>
                <c:pt idx="52">
                  <c:v>192844</c:v>
                </c:pt>
                <c:pt idx="53">
                  <c:v>150904</c:v>
                </c:pt>
                <c:pt idx="54">
                  <c:v>39154</c:v>
                </c:pt>
                <c:pt idx="55">
                  <c:v>44059</c:v>
                </c:pt>
                <c:pt idx="56">
                  <c:v>252724</c:v>
                </c:pt>
                <c:pt idx="57">
                  <c:v>209730</c:v>
                </c:pt>
                <c:pt idx="58">
                  <c:v>200751</c:v>
                </c:pt>
                <c:pt idx="59">
                  <c:v>227526</c:v>
                </c:pt>
                <c:pt idx="60">
                  <c:v>48593</c:v>
                </c:pt>
                <c:pt idx="61">
                  <c:v>34108</c:v>
                </c:pt>
                <c:pt idx="62">
                  <c:v>34157</c:v>
                </c:pt>
                <c:pt idx="63">
                  <c:v>51493</c:v>
                </c:pt>
                <c:pt idx="64">
                  <c:v>347407</c:v>
                </c:pt>
                <c:pt idx="65">
                  <c:v>233355</c:v>
                </c:pt>
                <c:pt idx="66">
                  <c:v>202933</c:v>
                </c:pt>
                <c:pt idx="67">
                  <c:v>144699</c:v>
                </c:pt>
                <c:pt idx="68">
                  <c:v>40821</c:v>
                </c:pt>
                <c:pt idx="69">
                  <c:v>51707</c:v>
                </c:pt>
                <c:pt idx="70">
                  <c:v>255756</c:v>
                </c:pt>
                <c:pt idx="71">
                  <c:v>223931</c:v>
                </c:pt>
                <c:pt idx="72">
                  <c:v>201857</c:v>
                </c:pt>
                <c:pt idx="73">
                  <c:v>194928</c:v>
                </c:pt>
                <c:pt idx="74">
                  <c:v>130294</c:v>
                </c:pt>
                <c:pt idx="75">
                  <c:v>39055</c:v>
                </c:pt>
                <c:pt idx="76">
                  <c:v>55436</c:v>
                </c:pt>
                <c:pt idx="77">
                  <c:v>244500</c:v>
                </c:pt>
                <c:pt idx="78">
                  <c:v>202161</c:v>
                </c:pt>
                <c:pt idx="79">
                  <c:v>178654</c:v>
                </c:pt>
                <c:pt idx="80">
                  <c:v>171218</c:v>
                </c:pt>
                <c:pt idx="81">
                  <c:v>110268</c:v>
                </c:pt>
                <c:pt idx="82">
                  <c:v>365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A9-49A4-8C71-454A990991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:$A$96</c:f>
              <c:numCache>
                <c:formatCode>m/d/yyyy</c:formatCode>
                <c:ptCount val="9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</c:numCache>
            </c:numRef>
          </c:cat>
          <c:val>
            <c:numRef>
              <c:f>Sheet1!$B$1:$B$96</c:f>
              <c:numCache>
                <c:formatCode>General</c:formatCode>
                <c:ptCount val="96"/>
                <c:pt idx="0">
                  <c:v>27495</c:v>
                </c:pt>
                <c:pt idx="1">
                  <c:v>29984</c:v>
                </c:pt>
                <c:pt idx="2">
                  <c:v>31796</c:v>
                </c:pt>
                <c:pt idx="3">
                  <c:v>27744</c:v>
                </c:pt>
                <c:pt idx="4">
                  <c:v>31194</c:v>
                </c:pt>
                <c:pt idx="5">
                  <c:v>14899</c:v>
                </c:pt>
                <c:pt idx="6">
                  <c:v>7819</c:v>
                </c:pt>
                <c:pt idx="7">
                  <c:v>25605</c:v>
                </c:pt>
                <c:pt idx="8">
                  <c:v>31375</c:v>
                </c:pt>
                <c:pt idx="9">
                  <c:v>29928</c:v>
                </c:pt>
                <c:pt idx="10">
                  <c:v>28230</c:v>
                </c:pt>
                <c:pt idx="11">
                  <c:v>31058</c:v>
                </c:pt>
                <c:pt idx="12">
                  <c:v>16458</c:v>
                </c:pt>
                <c:pt idx="13">
                  <c:v>8388</c:v>
                </c:pt>
                <c:pt idx="14">
                  <c:v>29117</c:v>
                </c:pt>
                <c:pt idx="15">
                  <c:v>34541</c:v>
                </c:pt>
                <c:pt idx="16">
                  <c:v>32781</c:v>
                </c:pt>
                <c:pt idx="17">
                  <c:v>34073</c:v>
                </c:pt>
                <c:pt idx="18">
                  <c:v>37505</c:v>
                </c:pt>
                <c:pt idx="19">
                  <c:v>18806</c:v>
                </c:pt>
                <c:pt idx="20">
                  <c:v>9572</c:v>
                </c:pt>
                <c:pt idx="21">
                  <c:v>33899</c:v>
                </c:pt>
                <c:pt idx="22">
                  <c:v>40914</c:v>
                </c:pt>
                <c:pt idx="23">
                  <c:v>40169</c:v>
                </c:pt>
                <c:pt idx="24">
                  <c:v>39765</c:v>
                </c:pt>
                <c:pt idx="25">
                  <c:v>41855</c:v>
                </c:pt>
                <c:pt idx="26">
                  <c:v>23065</c:v>
                </c:pt>
                <c:pt idx="27">
                  <c:v>11706</c:v>
                </c:pt>
                <c:pt idx="28">
                  <c:v>35103</c:v>
                </c:pt>
                <c:pt idx="29">
                  <c:v>44561</c:v>
                </c:pt>
                <c:pt idx="30">
                  <c:v>41146</c:v>
                </c:pt>
                <c:pt idx="31">
                  <c:v>39854</c:v>
                </c:pt>
                <c:pt idx="32">
                  <c:v>42795</c:v>
                </c:pt>
                <c:pt idx="33">
                  <c:v>22005</c:v>
                </c:pt>
                <c:pt idx="34">
                  <c:v>11096</c:v>
                </c:pt>
                <c:pt idx="35">
                  <c:v>32804</c:v>
                </c:pt>
                <c:pt idx="36">
                  <c:v>39767</c:v>
                </c:pt>
                <c:pt idx="37">
                  <c:v>40974</c:v>
                </c:pt>
                <c:pt idx="38">
                  <c:v>35277</c:v>
                </c:pt>
                <c:pt idx="39">
                  <c:v>39756</c:v>
                </c:pt>
                <c:pt idx="40">
                  <c:v>17575</c:v>
                </c:pt>
                <c:pt idx="41">
                  <c:v>8271</c:v>
                </c:pt>
                <c:pt idx="42">
                  <c:v>33473</c:v>
                </c:pt>
                <c:pt idx="43">
                  <c:v>37363</c:v>
                </c:pt>
                <c:pt idx="44">
                  <c:v>34331</c:v>
                </c:pt>
                <c:pt idx="45">
                  <c:v>30842</c:v>
                </c:pt>
                <c:pt idx="46">
                  <c:v>32085</c:v>
                </c:pt>
                <c:pt idx="47">
                  <c:v>17104</c:v>
                </c:pt>
                <c:pt idx="48">
                  <c:v>7951</c:v>
                </c:pt>
                <c:pt idx="49">
                  <c:v>29594</c:v>
                </c:pt>
                <c:pt idx="50">
                  <c:v>33537</c:v>
                </c:pt>
                <c:pt idx="51">
                  <c:v>28209</c:v>
                </c:pt>
                <c:pt idx="52">
                  <c:v>27649</c:v>
                </c:pt>
                <c:pt idx="53">
                  <c:v>27101</c:v>
                </c:pt>
                <c:pt idx="54">
                  <c:v>12613</c:v>
                </c:pt>
                <c:pt idx="55">
                  <c:v>6308</c:v>
                </c:pt>
                <c:pt idx="56">
                  <c:v>26996</c:v>
                </c:pt>
                <c:pt idx="57">
                  <c:v>28964</c:v>
                </c:pt>
                <c:pt idx="58">
                  <c:v>26001</c:v>
                </c:pt>
                <c:pt idx="59">
                  <c:v>24831</c:v>
                </c:pt>
                <c:pt idx="60">
                  <c:v>14626</c:v>
                </c:pt>
                <c:pt idx="61">
                  <c:v>8373</c:v>
                </c:pt>
                <c:pt idx="62">
                  <c:v>7095</c:v>
                </c:pt>
                <c:pt idx="63">
                  <c:v>7596</c:v>
                </c:pt>
                <c:pt idx="64">
                  <c:v>25682</c:v>
                </c:pt>
                <c:pt idx="65">
                  <c:v>27789</c:v>
                </c:pt>
                <c:pt idx="66">
                  <c:v>22339</c:v>
                </c:pt>
                <c:pt idx="67">
                  <c:v>22710</c:v>
                </c:pt>
                <c:pt idx="68">
                  <c:v>11120</c:v>
                </c:pt>
                <c:pt idx="69">
                  <c:v>5860</c:v>
                </c:pt>
                <c:pt idx="70">
                  <c:v>21491</c:v>
                </c:pt>
                <c:pt idx="71">
                  <c:v>24169</c:v>
                </c:pt>
                <c:pt idx="72">
                  <c:v>20992</c:v>
                </c:pt>
                <c:pt idx="73">
                  <c:v>17482</c:v>
                </c:pt>
                <c:pt idx="74">
                  <c:v>19181</c:v>
                </c:pt>
                <c:pt idx="75">
                  <c:v>9756</c:v>
                </c:pt>
                <c:pt idx="76">
                  <c:v>6188</c:v>
                </c:pt>
                <c:pt idx="77">
                  <c:v>21597</c:v>
                </c:pt>
                <c:pt idx="78">
                  <c:v>22178</c:v>
                </c:pt>
                <c:pt idx="79">
                  <c:v>18886</c:v>
                </c:pt>
                <c:pt idx="80">
                  <c:v>17420</c:v>
                </c:pt>
                <c:pt idx="81">
                  <c:v>17099</c:v>
                </c:pt>
                <c:pt idx="82">
                  <c:v>85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A9-49A4-8C71-454A990991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293-47D3-BB88-CE0C29374579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293-47D3-BB88-CE0C29374579}"/>
              </c:ext>
            </c:extLst>
          </c:dPt>
          <c:dPt>
            <c:idx val="2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93-47D3-BB88-CE0C2937457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293-47D3-BB88-CE0C29374579}"/>
              </c:ext>
            </c:extLst>
          </c:dPt>
          <c:dLbls>
            <c:dLbl>
              <c:idx val="0"/>
              <c:layout>
                <c:manualLayout>
                  <c:x val="-0.17843374725783762"/>
                  <c:y val="-5.349340482011619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8293-47D3-BB88-CE0C29374579}"/>
                </c:ext>
              </c:extLst>
            </c:dLbl>
            <c:dLbl>
              <c:idx val="3"/>
              <c:layout>
                <c:manualLayout>
                  <c:x val="4.0377254982149058E-4"/>
                  <c:y val="-1.783113494003871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8293-47D3-BB88-CE0C29374579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5</c:f>
              <c:strCache>
                <c:ptCount val="4"/>
                <c:pt idx="0">
                  <c:v>AG pozitivní asymptomatický + PCR konfirmace</c:v>
                </c:pt>
                <c:pt idx="1">
                  <c:v>AG pozitivní symptomatický</c:v>
                </c:pt>
                <c:pt idx="2">
                  <c:v>PCR pozitivní asymptomatický</c:v>
                </c:pt>
                <c:pt idx="3">
                  <c:v>PCR symptomatický</c:v>
                </c:pt>
              </c:strCache>
            </c:strRef>
          </c:cat>
          <c:val>
            <c:numRef>
              <c:f>Sheet1!$B$2:$B$5</c:f>
              <c:numCache>
                <c:formatCode>###0.0</c:formatCode>
                <c:ptCount val="4"/>
                <c:pt idx="0">
                  <c:v>0.56589699999999998</c:v>
                </c:pt>
                <c:pt idx="1">
                  <c:v>0.19087899999999999</c:v>
                </c:pt>
                <c:pt idx="2">
                  <c:v>0.16262699999999999</c:v>
                </c:pt>
                <c:pt idx="3">
                  <c:v>8.0597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293-47D3-BB88-CE0C293745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521275549475432"/>
          <c:y val="0.12849462164297293"/>
          <c:w val="0.33831643706606068"/>
          <c:h val="0.829194575590907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M$1</c:f>
              <c:strCache>
                <c:ptCount val="12"/>
                <c:pt idx="0">
                  <c:v>05/ 2020</c:v>
                </c:pt>
                <c:pt idx="1">
                  <c:v>06/ 2020</c:v>
                </c:pt>
                <c:pt idx="2">
                  <c:v>07/ 2020</c:v>
                </c:pt>
                <c:pt idx="3">
                  <c:v>08/ 2020</c:v>
                </c:pt>
                <c:pt idx="4">
                  <c:v>09/ 2020</c:v>
                </c:pt>
                <c:pt idx="5">
                  <c:v>10/ 2020</c:v>
                </c:pt>
                <c:pt idx="6">
                  <c:v>11/ 2020</c:v>
                </c:pt>
                <c:pt idx="7">
                  <c:v>12/ 2020</c:v>
                </c:pt>
                <c:pt idx="8">
                  <c:v>01/ 2021</c:v>
                </c:pt>
                <c:pt idx="9">
                  <c:v>02/ 2021</c:v>
                </c:pt>
                <c:pt idx="10">
                  <c:v>03/ 2021</c:v>
                </c:pt>
                <c:pt idx="11">
                  <c:v>04/ 2021</c:v>
                </c:pt>
              </c:strCache>
            </c:strRef>
          </c:cat>
          <c:val>
            <c:numRef>
              <c:f>List1!$B$2:$M$2</c:f>
              <c:numCache>
                <c:formatCode>General</c:formatCode>
                <c:ptCount val="12"/>
                <c:pt idx="0">
                  <c:v>195</c:v>
                </c:pt>
                <c:pt idx="1">
                  <c:v>144</c:v>
                </c:pt>
                <c:pt idx="2">
                  <c:v>402</c:v>
                </c:pt>
                <c:pt idx="3">
                  <c:v>506</c:v>
                </c:pt>
                <c:pt idx="4">
                  <c:v>973</c:v>
                </c:pt>
                <c:pt idx="5">
                  <c:v>1522</c:v>
                </c:pt>
                <c:pt idx="6">
                  <c:v>1142</c:v>
                </c:pt>
                <c:pt idx="7">
                  <c:v>184</c:v>
                </c:pt>
                <c:pt idx="8">
                  <c:v>352</c:v>
                </c:pt>
                <c:pt idx="9">
                  <c:v>1560</c:v>
                </c:pt>
                <c:pt idx="10">
                  <c:v>1952</c:v>
                </c:pt>
                <c:pt idx="11">
                  <c:v>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2F-416A-9519-1BA6C82B81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813385876312507E-2"/>
          <c:y val="2.1062642868505919E-2"/>
          <c:w val="0.86437848759276137"/>
          <c:h val="0.8538315944095293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ruhá dávk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C$1:$DS$1</c:f>
              <c:strCache>
                <c:ptCount val="121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</c:strCache>
            </c:strRef>
          </c:cat>
          <c:val>
            <c:numRef>
              <c:f>Sheet1!$C$2:$DS$2</c:f>
              <c:numCache>
                <c:formatCode>General</c:formatCode>
                <c:ptCount val="1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2</c:v>
                </c:pt>
                <c:pt idx="20">
                  <c:v>634</c:v>
                </c:pt>
                <c:pt idx="21">
                  <c:v>2360</c:v>
                </c:pt>
                <c:pt idx="22">
                  <c:v>5057</c:v>
                </c:pt>
                <c:pt idx="23">
                  <c:v>7676</c:v>
                </c:pt>
                <c:pt idx="24">
                  <c:v>9394</c:v>
                </c:pt>
                <c:pt idx="25">
                  <c:v>10426</c:v>
                </c:pt>
                <c:pt idx="26">
                  <c:v>11291</c:v>
                </c:pt>
                <c:pt idx="27">
                  <c:v>12152</c:v>
                </c:pt>
                <c:pt idx="28">
                  <c:v>15092</c:v>
                </c:pt>
                <c:pt idx="29">
                  <c:v>19043</c:v>
                </c:pt>
                <c:pt idx="30">
                  <c:v>23525</c:v>
                </c:pt>
                <c:pt idx="31">
                  <c:v>29603</c:v>
                </c:pt>
                <c:pt idx="32">
                  <c:v>37394</c:v>
                </c:pt>
                <c:pt idx="33">
                  <c:v>38475</c:v>
                </c:pt>
                <c:pt idx="34">
                  <c:v>39617</c:v>
                </c:pt>
                <c:pt idx="35">
                  <c:v>47481</c:v>
                </c:pt>
                <c:pt idx="36">
                  <c:v>57636</c:v>
                </c:pt>
                <c:pt idx="37">
                  <c:v>68574</c:v>
                </c:pt>
                <c:pt idx="38">
                  <c:v>81467</c:v>
                </c:pt>
                <c:pt idx="39">
                  <c:v>92062</c:v>
                </c:pt>
                <c:pt idx="40">
                  <c:v>94391</c:v>
                </c:pt>
                <c:pt idx="41">
                  <c:v>96861</c:v>
                </c:pt>
                <c:pt idx="42">
                  <c:v>108182</c:v>
                </c:pt>
                <c:pt idx="43">
                  <c:v>120017</c:v>
                </c:pt>
                <c:pt idx="44">
                  <c:v>133096</c:v>
                </c:pt>
                <c:pt idx="45">
                  <c:v>149148</c:v>
                </c:pt>
                <c:pt idx="46">
                  <c:v>163746</c:v>
                </c:pt>
                <c:pt idx="47">
                  <c:v>166703</c:v>
                </c:pt>
                <c:pt idx="48">
                  <c:v>168068</c:v>
                </c:pt>
                <c:pt idx="49" formatCode="#,##0">
                  <c:v>177360</c:v>
                </c:pt>
                <c:pt idx="50" formatCode="#,##0">
                  <c:v>186343</c:v>
                </c:pt>
                <c:pt idx="51" formatCode="#,##0">
                  <c:v>194516</c:v>
                </c:pt>
                <c:pt idx="52" formatCode="#,##0">
                  <c:v>202488</c:v>
                </c:pt>
                <c:pt idx="53" formatCode="#,##0">
                  <c:v>209704</c:v>
                </c:pt>
                <c:pt idx="54" formatCode="#,##0">
                  <c:v>210866</c:v>
                </c:pt>
                <c:pt idx="55" formatCode="#,##0">
                  <c:v>211871</c:v>
                </c:pt>
                <c:pt idx="56" formatCode="#,##0">
                  <c:v>217845</c:v>
                </c:pt>
                <c:pt idx="57" formatCode="#,##0">
                  <c:v>224741</c:v>
                </c:pt>
                <c:pt idx="58" formatCode="#,##0">
                  <c:v>230724</c:v>
                </c:pt>
                <c:pt idx="59" formatCode="#,##0">
                  <c:v>236225</c:v>
                </c:pt>
                <c:pt idx="60" formatCode="#,##0">
                  <c:v>241518</c:v>
                </c:pt>
                <c:pt idx="61" formatCode="#,##0">
                  <c:v>242066</c:v>
                </c:pt>
                <c:pt idx="62" formatCode="#,##0">
                  <c:v>242605</c:v>
                </c:pt>
                <c:pt idx="63" formatCode="#,##0">
                  <c:v>245992</c:v>
                </c:pt>
                <c:pt idx="64" formatCode="#,##0">
                  <c:v>249499</c:v>
                </c:pt>
                <c:pt idx="65" formatCode="#,##0">
                  <c:v>253962</c:v>
                </c:pt>
                <c:pt idx="66" formatCode="#,##0">
                  <c:v>258573</c:v>
                </c:pt>
                <c:pt idx="67" formatCode="#,##0">
                  <c:v>263900</c:v>
                </c:pt>
                <c:pt idx="68" formatCode="#,##0">
                  <c:v>264722</c:v>
                </c:pt>
                <c:pt idx="69" formatCode="#,##0">
                  <c:v>265545</c:v>
                </c:pt>
                <c:pt idx="70" formatCode="#,##0">
                  <c:v>270330</c:v>
                </c:pt>
                <c:pt idx="71" formatCode="#,##0">
                  <c:v>276642</c:v>
                </c:pt>
                <c:pt idx="72" formatCode="#,##0">
                  <c:v>283531</c:v>
                </c:pt>
                <c:pt idx="73" formatCode="#,##0">
                  <c:v>291820</c:v>
                </c:pt>
                <c:pt idx="74" formatCode="#,##0">
                  <c:v>300158</c:v>
                </c:pt>
                <c:pt idx="75" formatCode="#,##0">
                  <c:v>301425</c:v>
                </c:pt>
                <c:pt idx="76" formatCode="#,##0">
                  <c:v>302548</c:v>
                </c:pt>
                <c:pt idx="77" formatCode="#,##0">
                  <c:v>311247</c:v>
                </c:pt>
                <c:pt idx="78" formatCode="#,##0">
                  <c:v>321663</c:v>
                </c:pt>
                <c:pt idx="79" formatCode="#,##0">
                  <c:v>332088</c:v>
                </c:pt>
                <c:pt idx="80" formatCode="#,##0">
                  <c:v>344414</c:v>
                </c:pt>
                <c:pt idx="81" formatCode="#,##0">
                  <c:v>357904</c:v>
                </c:pt>
                <c:pt idx="82" formatCode="#,##0">
                  <c:v>359902</c:v>
                </c:pt>
                <c:pt idx="83" formatCode="#,##0">
                  <c:v>361422</c:v>
                </c:pt>
                <c:pt idx="84" formatCode="#,##0">
                  <c:v>373761</c:v>
                </c:pt>
                <c:pt idx="85" formatCode="#,##0">
                  <c:v>386976</c:v>
                </c:pt>
                <c:pt idx="86" formatCode="#,##0">
                  <c:v>402537</c:v>
                </c:pt>
                <c:pt idx="87" formatCode="#,##0">
                  <c:v>420297</c:v>
                </c:pt>
                <c:pt idx="88" formatCode="#,##0">
                  <c:v>437657</c:v>
                </c:pt>
                <c:pt idx="89" formatCode="#,##0">
                  <c:v>442406</c:v>
                </c:pt>
                <c:pt idx="90" formatCode="#,##0">
                  <c:v>446494</c:v>
                </c:pt>
                <c:pt idx="91" formatCode="#,##0">
                  <c:v>466972</c:v>
                </c:pt>
                <c:pt idx="92" formatCode="#,##0">
                  <c:v>488956</c:v>
                </c:pt>
                <c:pt idx="93" formatCode="#,##0">
                  <c:v>515718</c:v>
                </c:pt>
                <c:pt idx="94" formatCode="#,##0">
                  <c:v>547431</c:v>
                </c:pt>
                <c:pt idx="95" formatCode="#,##0">
                  <c:v>560106</c:v>
                </c:pt>
                <c:pt idx="96" formatCode="#,##0">
                  <c:v>570958</c:v>
                </c:pt>
                <c:pt idx="97" formatCode="#,##0">
                  <c:v>579673</c:v>
                </c:pt>
                <c:pt idx="98" formatCode="#,##0">
                  <c:v>586793</c:v>
                </c:pt>
                <c:pt idx="99" formatCode="#,##0">
                  <c:v>615776</c:v>
                </c:pt>
                <c:pt idx="100" formatCode="#,##0">
                  <c:v>637705</c:v>
                </c:pt>
                <c:pt idx="101" formatCode="#,##0">
                  <c:v>668399</c:v>
                </c:pt>
                <c:pt idx="102" formatCode="#,##0">
                  <c:v>698136</c:v>
                </c:pt>
                <c:pt idx="103" formatCode="#,##0">
                  <c:v>713251</c:v>
                </c:pt>
                <c:pt idx="104" formatCode="#,##0">
                  <c:v>723220</c:v>
                </c:pt>
                <c:pt idx="105" formatCode="#,##0">
                  <c:v>747798</c:v>
                </c:pt>
                <c:pt idx="106" formatCode="#,##0">
                  <c:v>773466</c:v>
                </c:pt>
                <c:pt idx="107" formatCode="#,##0">
                  <c:v>800592</c:v>
                </c:pt>
                <c:pt idx="108" formatCode="#,##0">
                  <c:v>826006</c:v>
                </c:pt>
                <c:pt idx="109" formatCode="#,##0">
                  <c:v>851381</c:v>
                </c:pt>
                <c:pt idx="110" formatCode="#,##0">
                  <c:v>860324</c:v>
                </c:pt>
                <c:pt idx="111" formatCode="#,##0">
                  <c:v>865257</c:v>
                </c:pt>
                <c:pt idx="112" formatCode="#,##0">
                  <c:v>880491</c:v>
                </c:pt>
                <c:pt idx="113" formatCode="#,##0">
                  <c:v>896108</c:v>
                </c:pt>
                <c:pt idx="114" formatCode="#,##0">
                  <c:v>910109</c:v>
                </c:pt>
                <c:pt idx="115" formatCode="#,##0">
                  <c:v>927223</c:v>
                </c:pt>
                <c:pt idx="116" formatCode="#,##0">
                  <c:v>938863</c:v>
                </c:pt>
                <c:pt idx="117" formatCode="#,##0">
                  <c:v>944013</c:v>
                </c:pt>
                <c:pt idx="118" formatCode="#,##0">
                  <c:v>947946</c:v>
                </c:pt>
                <c:pt idx="119" formatCode="#,##0">
                  <c:v>954450</c:v>
                </c:pt>
                <c:pt idx="120" formatCode="#,##0">
                  <c:v>9649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43-43C0-B046-DC96016FC49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vní dávk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C$1:$DS$1</c:f>
              <c:strCache>
                <c:ptCount val="121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</c:strCache>
            </c:strRef>
          </c:cat>
          <c:val>
            <c:numRef>
              <c:f>Sheet1!$C$3:$DS$3</c:f>
              <c:numCache>
                <c:formatCode>General</c:formatCode>
                <c:ptCount val="121"/>
                <c:pt idx="0">
                  <c:v>3546</c:v>
                </c:pt>
                <c:pt idx="1">
                  <c:v>6990</c:v>
                </c:pt>
                <c:pt idx="2">
                  <c:v>10464</c:v>
                </c:pt>
                <c:pt idx="3">
                  <c:v>11770</c:v>
                </c:pt>
                <c:pt idx="4">
                  <c:v>12030</c:v>
                </c:pt>
                <c:pt idx="5">
                  <c:v>13296</c:v>
                </c:pt>
                <c:pt idx="6">
                  <c:v>14210</c:v>
                </c:pt>
                <c:pt idx="7">
                  <c:v>17775</c:v>
                </c:pt>
                <c:pt idx="8">
                  <c:v>22268</c:v>
                </c:pt>
                <c:pt idx="9">
                  <c:v>28082</c:v>
                </c:pt>
                <c:pt idx="10">
                  <c:v>36020</c:v>
                </c:pt>
                <c:pt idx="11">
                  <c:v>45944</c:v>
                </c:pt>
                <c:pt idx="12">
                  <c:v>47955</c:v>
                </c:pt>
                <c:pt idx="13">
                  <c:v>49679</c:v>
                </c:pt>
                <c:pt idx="14">
                  <c:v>59462</c:v>
                </c:pt>
                <c:pt idx="15">
                  <c:v>72812</c:v>
                </c:pt>
                <c:pt idx="16">
                  <c:v>86277</c:v>
                </c:pt>
                <c:pt idx="17">
                  <c:v>101434</c:v>
                </c:pt>
                <c:pt idx="18">
                  <c:v>115352</c:v>
                </c:pt>
                <c:pt idx="19">
                  <c:v>118723</c:v>
                </c:pt>
                <c:pt idx="20">
                  <c:v>121317</c:v>
                </c:pt>
                <c:pt idx="21">
                  <c:v>133770</c:v>
                </c:pt>
                <c:pt idx="22">
                  <c:v>146271</c:v>
                </c:pt>
                <c:pt idx="23">
                  <c:v>159812</c:v>
                </c:pt>
                <c:pt idx="24">
                  <c:v>175349</c:v>
                </c:pt>
                <c:pt idx="25">
                  <c:v>190079</c:v>
                </c:pt>
                <c:pt idx="26">
                  <c:v>193352</c:v>
                </c:pt>
                <c:pt idx="27">
                  <c:v>195594</c:v>
                </c:pt>
                <c:pt idx="28">
                  <c:v>205193</c:v>
                </c:pt>
                <c:pt idx="29">
                  <c:v>215686</c:v>
                </c:pt>
                <c:pt idx="30">
                  <c:v>224666</c:v>
                </c:pt>
                <c:pt idx="31">
                  <c:v>231695</c:v>
                </c:pt>
                <c:pt idx="32">
                  <c:v>237868</c:v>
                </c:pt>
                <c:pt idx="33">
                  <c:v>238585</c:v>
                </c:pt>
                <c:pt idx="34">
                  <c:v>239286</c:v>
                </c:pt>
                <c:pt idx="35">
                  <c:v>243225</c:v>
                </c:pt>
                <c:pt idx="36">
                  <c:v>247339</c:v>
                </c:pt>
                <c:pt idx="37">
                  <c:v>251720</c:v>
                </c:pt>
                <c:pt idx="38">
                  <c:v>256589</c:v>
                </c:pt>
                <c:pt idx="39">
                  <c:v>262020</c:v>
                </c:pt>
                <c:pt idx="40">
                  <c:v>262856</c:v>
                </c:pt>
                <c:pt idx="41">
                  <c:v>263699</c:v>
                </c:pt>
                <c:pt idx="42">
                  <c:v>267706</c:v>
                </c:pt>
                <c:pt idx="43">
                  <c:v>272738</c:v>
                </c:pt>
                <c:pt idx="44">
                  <c:v>278256</c:v>
                </c:pt>
                <c:pt idx="45">
                  <c:v>284529</c:v>
                </c:pt>
                <c:pt idx="46">
                  <c:v>291237</c:v>
                </c:pt>
                <c:pt idx="47">
                  <c:v>292805</c:v>
                </c:pt>
                <c:pt idx="48">
                  <c:v>293793</c:v>
                </c:pt>
                <c:pt idx="49" formatCode="#,##0">
                  <c:v>300129</c:v>
                </c:pt>
                <c:pt idx="50" formatCode="#,##0">
                  <c:v>308733</c:v>
                </c:pt>
                <c:pt idx="51" formatCode="#,##0">
                  <c:v>318378</c:v>
                </c:pt>
                <c:pt idx="52" formatCode="#,##0">
                  <c:v>330614</c:v>
                </c:pt>
                <c:pt idx="53" formatCode="#,##0">
                  <c:v>342349</c:v>
                </c:pt>
                <c:pt idx="54" formatCode="#,##0">
                  <c:v>344263</c:v>
                </c:pt>
                <c:pt idx="55" formatCode="#,##0">
                  <c:v>345283</c:v>
                </c:pt>
                <c:pt idx="56" formatCode="#,##0">
                  <c:v>355343</c:v>
                </c:pt>
                <c:pt idx="57" formatCode="#,##0">
                  <c:v>368141</c:v>
                </c:pt>
                <c:pt idx="58" formatCode="#,##0">
                  <c:v>381901</c:v>
                </c:pt>
                <c:pt idx="59" formatCode="#,##0">
                  <c:v>399753</c:v>
                </c:pt>
                <c:pt idx="60" formatCode="#,##0">
                  <c:v>415769</c:v>
                </c:pt>
                <c:pt idx="61" formatCode="#,##0">
                  <c:v>418696</c:v>
                </c:pt>
                <c:pt idx="62" formatCode="#,##0">
                  <c:v>421024</c:v>
                </c:pt>
                <c:pt idx="63" formatCode="#,##0">
                  <c:v>440289</c:v>
                </c:pt>
                <c:pt idx="64" formatCode="#,##0">
                  <c:v>467075</c:v>
                </c:pt>
                <c:pt idx="65" formatCode="#,##0">
                  <c:v>497399</c:v>
                </c:pt>
                <c:pt idx="66" formatCode="#,##0">
                  <c:v>530193</c:v>
                </c:pt>
                <c:pt idx="67" formatCode="#,##0">
                  <c:v>558626</c:v>
                </c:pt>
                <c:pt idx="68" formatCode="#,##0">
                  <c:v>570583</c:v>
                </c:pt>
                <c:pt idx="69" formatCode="#,##0">
                  <c:v>581934</c:v>
                </c:pt>
                <c:pt idx="70" formatCode="#,##0">
                  <c:v>611371</c:v>
                </c:pt>
                <c:pt idx="71" formatCode="#,##0">
                  <c:v>647224</c:v>
                </c:pt>
                <c:pt idx="72" formatCode="#,##0">
                  <c:v>688060</c:v>
                </c:pt>
                <c:pt idx="73" formatCode="#,##0">
                  <c:v>732405</c:v>
                </c:pt>
                <c:pt idx="74" formatCode="#,##0">
                  <c:v>770722</c:v>
                </c:pt>
                <c:pt idx="75" formatCode="#,##0">
                  <c:v>787653</c:v>
                </c:pt>
                <c:pt idx="76" formatCode="#,##0">
                  <c:v>799675</c:v>
                </c:pt>
                <c:pt idx="77" formatCode="#,##0">
                  <c:v>827700</c:v>
                </c:pt>
                <c:pt idx="78" formatCode="#,##0">
                  <c:v>866180</c:v>
                </c:pt>
                <c:pt idx="79" formatCode="#,##0">
                  <c:v>903303</c:v>
                </c:pt>
                <c:pt idx="80" formatCode="#,##0">
                  <c:v>940781</c:v>
                </c:pt>
                <c:pt idx="81" formatCode="#,##0">
                  <c:v>974744</c:v>
                </c:pt>
                <c:pt idx="82" formatCode="#,##0">
                  <c:v>989696</c:v>
                </c:pt>
                <c:pt idx="83" formatCode="#,##0">
                  <c:v>997031</c:v>
                </c:pt>
                <c:pt idx="84" formatCode="#,##0">
                  <c:v>1021091</c:v>
                </c:pt>
                <c:pt idx="85" formatCode="#,##0">
                  <c:v>1047286</c:v>
                </c:pt>
                <c:pt idx="86" formatCode="#,##0">
                  <c:v>1073760</c:v>
                </c:pt>
                <c:pt idx="87" formatCode="#,##0">
                  <c:v>1099757</c:v>
                </c:pt>
                <c:pt idx="88" formatCode="#,##0">
                  <c:v>1124195</c:v>
                </c:pt>
                <c:pt idx="89" formatCode="#,##0">
                  <c:v>1132522</c:v>
                </c:pt>
                <c:pt idx="90" formatCode="#,##0">
                  <c:v>1137997</c:v>
                </c:pt>
                <c:pt idx="91" formatCode="#,##0">
                  <c:v>1156734</c:v>
                </c:pt>
                <c:pt idx="92" formatCode="#,##0">
                  <c:v>1181086</c:v>
                </c:pt>
                <c:pt idx="93" formatCode="#,##0">
                  <c:v>1203818</c:v>
                </c:pt>
                <c:pt idx="94" formatCode="#,##0">
                  <c:v>1228901</c:v>
                </c:pt>
                <c:pt idx="95" formatCode="#,##0">
                  <c:v>1235587</c:v>
                </c:pt>
                <c:pt idx="96" formatCode="#,##0">
                  <c:v>1239039</c:v>
                </c:pt>
                <c:pt idx="97" formatCode="#,##0">
                  <c:v>1241491</c:v>
                </c:pt>
                <c:pt idx="98" formatCode="#,##0">
                  <c:v>1243767</c:v>
                </c:pt>
                <c:pt idx="99" formatCode="#,##0">
                  <c:v>1259602</c:v>
                </c:pt>
                <c:pt idx="100" formatCode="#,##0">
                  <c:v>1282587</c:v>
                </c:pt>
                <c:pt idx="101" formatCode="#,##0">
                  <c:v>1320154</c:v>
                </c:pt>
                <c:pt idx="102" formatCode="#,##0">
                  <c:v>1358292</c:v>
                </c:pt>
                <c:pt idx="103" formatCode="#,##0">
                  <c:v>1373519</c:v>
                </c:pt>
                <c:pt idx="104" formatCode="#,##0">
                  <c:v>1383149</c:v>
                </c:pt>
                <c:pt idx="105" formatCode="#,##0">
                  <c:v>1420463</c:v>
                </c:pt>
                <c:pt idx="106" formatCode="#,##0">
                  <c:v>1455746</c:v>
                </c:pt>
                <c:pt idx="107" formatCode="#,##0">
                  <c:v>1493824</c:v>
                </c:pt>
                <c:pt idx="108" formatCode="#,##0">
                  <c:v>1540831</c:v>
                </c:pt>
                <c:pt idx="109" formatCode="#,##0">
                  <c:v>1584774</c:v>
                </c:pt>
                <c:pt idx="110" formatCode="#,##0">
                  <c:v>1601199</c:v>
                </c:pt>
                <c:pt idx="111" formatCode="#,##0">
                  <c:v>1614068</c:v>
                </c:pt>
                <c:pt idx="112" formatCode="#,##0">
                  <c:v>1657341</c:v>
                </c:pt>
                <c:pt idx="113" formatCode="#,##0">
                  <c:v>1698911</c:v>
                </c:pt>
                <c:pt idx="114" formatCode="#,##0">
                  <c:v>1745863</c:v>
                </c:pt>
                <c:pt idx="115" formatCode="#,##0">
                  <c:v>1799403</c:v>
                </c:pt>
                <c:pt idx="116" formatCode="#,##0">
                  <c:v>1848224</c:v>
                </c:pt>
                <c:pt idx="117" formatCode="#,##0">
                  <c:v>1865754</c:v>
                </c:pt>
                <c:pt idx="118" formatCode="#,##0">
                  <c:v>1880195</c:v>
                </c:pt>
                <c:pt idx="119" formatCode="#,##0">
                  <c:v>1928516</c:v>
                </c:pt>
                <c:pt idx="120" formatCode="#,##0">
                  <c:v>19736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43-43C0-B046-DC96016FC4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83764288"/>
        <c:axId val="50879584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celkem dávek v ČR</c:v>
                </c:pt>
              </c:strCache>
            </c:strRef>
          </c:tx>
          <c:spPr>
            <a:ln w="698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C$1:$DS$1</c:f>
              <c:strCache>
                <c:ptCount val="121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</c:strCache>
            </c:strRef>
          </c:cat>
          <c:val>
            <c:numRef>
              <c:f>Sheet1!$C$4:$DS$4</c:f>
              <c:numCache>
                <c:formatCode>0</c:formatCode>
                <c:ptCount val="121"/>
                <c:pt idx="0">
                  <c:v>29250</c:v>
                </c:pt>
                <c:pt idx="1">
                  <c:v>29250</c:v>
                </c:pt>
                <c:pt idx="2">
                  <c:v>29250</c:v>
                </c:pt>
                <c:pt idx="3">
                  <c:v>29250</c:v>
                </c:pt>
                <c:pt idx="4">
                  <c:v>29250</c:v>
                </c:pt>
                <c:pt idx="5">
                  <c:v>29250</c:v>
                </c:pt>
                <c:pt idx="6">
                  <c:v>29250</c:v>
                </c:pt>
                <c:pt idx="7">
                  <c:v>98475</c:v>
                </c:pt>
                <c:pt idx="8">
                  <c:v>98475</c:v>
                </c:pt>
                <c:pt idx="9">
                  <c:v>98475</c:v>
                </c:pt>
                <c:pt idx="10">
                  <c:v>98475</c:v>
                </c:pt>
                <c:pt idx="11">
                  <c:v>98475</c:v>
                </c:pt>
                <c:pt idx="12">
                  <c:v>98475</c:v>
                </c:pt>
                <c:pt idx="13">
                  <c:v>98475</c:v>
                </c:pt>
                <c:pt idx="14">
                  <c:v>169650</c:v>
                </c:pt>
                <c:pt idx="15">
                  <c:v>178050</c:v>
                </c:pt>
                <c:pt idx="16">
                  <c:v>178050</c:v>
                </c:pt>
                <c:pt idx="17">
                  <c:v>178050</c:v>
                </c:pt>
                <c:pt idx="18">
                  <c:v>178050</c:v>
                </c:pt>
                <c:pt idx="19">
                  <c:v>178050</c:v>
                </c:pt>
                <c:pt idx="20">
                  <c:v>178050</c:v>
                </c:pt>
                <c:pt idx="21">
                  <c:v>272820</c:v>
                </c:pt>
                <c:pt idx="22">
                  <c:v>272820</c:v>
                </c:pt>
                <c:pt idx="23">
                  <c:v>272820</c:v>
                </c:pt>
                <c:pt idx="24">
                  <c:v>272820</c:v>
                </c:pt>
                <c:pt idx="25">
                  <c:v>272820</c:v>
                </c:pt>
                <c:pt idx="26">
                  <c:v>272820</c:v>
                </c:pt>
                <c:pt idx="27">
                  <c:v>272820</c:v>
                </c:pt>
                <c:pt idx="28">
                  <c:v>346530</c:v>
                </c:pt>
                <c:pt idx="29">
                  <c:v>346530</c:v>
                </c:pt>
                <c:pt idx="30">
                  <c:v>346530</c:v>
                </c:pt>
                <c:pt idx="31">
                  <c:v>346530</c:v>
                </c:pt>
                <c:pt idx="32">
                  <c:v>346530</c:v>
                </c:pt>
                <c:pt idx="33">
                  <c:v>346530</c:v>
                </c:pt>
                <c:pt idx="34">
                  <c:v>346530</c:v>
                </c:pt>
                <c:pt idx="35">
                  <c:v>426480</c:v>
                </c:pt>
                <c:pt idx="36">
                  <c:v>430680</c:v>
                </c:pt>
                <c:pt idx="37">
                  <c:v>433980</c:v>
                </c:pt>
                <c:pt idx="38">
                  <c:v>434580</c:v>
                </c:pt>
                <c:pt idx="39">
                  <c:v>435680</c:v>
                </c:pt>
                <c:pt idx="40">
                  <c:v>435680</c:v>
                </c:pt>
                <c:pt idx="41">
                  <c:v>435680</c:v>
                </c:pt>
                <c:pt idx="42">
                  <c:v>539800</c:v>
                </c:pt>
                <c:pt idx="43">
                  <c:v>543800</c:v>
                </c:pt>
                <c:pt idx="44">
                  <c:v>552500</c:v>
                </c:pt>
                <c:pt idx="45">
                  <c:v>555000</c:v>
                </c:pt>
                <c:pt idx="46">
                  <c:v>576600</c:v>
                </c:pt>
                <c:pt idx="47">
                  <c:v>576600</c:v>
                </c:pt>
                <c:pt idx="48">
                  <c:v>576600</c:v>
                </c:pt>
                <c:pt idx="49">
                  <c:v>576600</c:v>
                </c:pt>
                <c:pt idx="50">
                  <c:v>643290</c:v>
                </c:pt>
                <c:pt idx="51">
                  <c:v>667860</c:v>
                </c:pt>
                <c:pt idx="52">
                  <c:v>667860</c:v>
                </c:pt>
                <c:pt idx="53">
                  <c:v>703860</c:v>
                </c:pt>
                <c:pt idx="54">
                  <c:v>703860</c:v>
                </c:pt>
                <c:pt idx="55">
                  <c:v>703860</c:v>
                </c:pt>
                <c:pt idx="56" formatCode="#,##0">
                  <c:v>703860</c:v>
                </c:pt>
                <c:pt idx="57" formatCode="#,##0">
                  <c:v>797460</c:v>
                </c:pt>
                <c:pt idx="58" formatCode="#,##0">
                  <c:v>797460</c:v>
                </c:pt>
                <c:pt idx="59" formatCode="#,##0">
                  <c:v>797460</c:v>
                </c:pt>
                <c:pt idx="60" formatCode="#,##0">
                  <c:v>850360</c:v>
                </c:pt>
                <c:pt idx="61" formatCode="#,##0">
                  <c:v>867260</c:v>
                </c:pt>
                <c:pt idx="62">
                  <c:v>867260</c:v>
                </c:pt>
                <c:pt idx="63">
                  <c:v>872860</c:v>
                </c:pt>
                <c:pt idx="64">
                  <c:v>1001550</c:v>
                </c:pt>
                <c:pt idx="65">
                  <c:v>1008150</c:v>
                </c:pt>
                <c:pt idx="66">
                  <c:v>1008150</c:v>
                </c:pt>
                <c:pt idx="67">
                  <c:v>1027250</c:v>
                </c:pt>
                <c:pt idx="68">
                  <c:v>1027250</c:v>
                </c:pt>
                <c:pt idx="69">
                  <c:v>1027250</c:v>
                </c:pt>
                <c:pt idx="70">
                  <c:v>1043550</c:v>
                </c:pt>
                <c:pt idx="71">
                  <c:v>1267550</c:v>
                </c:pt>
                <c:pt idx="72">
                  <c:v>1274550</c:v>
                </c:pt>
                <c:pt idx="73">
                  <c:v>1279750</c:v>
                </c:pt>
                <c:pt idx="74">
                  <c:v>1314150</c:v>
                </c:pt>
                <c:pt idx="75">
                  <c:v>1332050</c:v>
                </c:pt>
                <c:pt idx="76">
                  <c:v>1340250</c:v>
                </c:pt>
                <c:pt idx="77">
                  <c:v>1354850</c:v>
                </c:pt>
                <c:pt idx="78">
                  <c:v>1485270</c:v>
                </c:pt>
                <c:pt idx="79" formatCode="#,##0">
                  <c:v>1493470</c:v>
                </c:pt>
                <c:pt idx="80" formatCode="#,##0">
                  <c:v>1499070</c:v>
                </c:pt>
                <c:pt idx="81" formatCode="#,##0">
                  <c:v>1504970</c:v>
                </c:pt>
                <c:pt idx="82" formatCode="#,##0">
                  <c:v>1504970</c:v>
                </c:pt>
                <c:pt idx="83" formatCode="#,##0">
                  <c:v>1504970</c:v>
                </c:pt>
                <c:pt idx="84" formatCode="#,##0">
                  <c:v>1507170</c:v>
                </c:pt>
                <c:pt idx="85" formatCode="#,##0">
                  <c:v>1671070</c:v>
                </c:pt>
                <c:pt idx="86" formatCode="#,##0">
                  <c:v>1671070</c:v>
                </c:pt>
                <c:pt idx="87" formatCode="#,##0">
                  <c:v>1671070</c:v>
                </c:pt>
                <c:pt idx="88" formatCode="#,##0">
                  <c:v>1728870</c:v>
                </c:pt>
                <c:pt idx="89" formatCode="#,##0">
                  <c:v>1760370</c:v>
                </c:pt>
                <c:pt idx="90" formatCode="#,##0">
                  <c:v>1766070</c:v>
                </c:pt>
                <c:pt idx="91" formatCode="General">
                  <c:v>1769470</c:v>
                </c:pt>
                <c:pt idx="92" formatCode="General">
                  <c:v>1933270</c:v>
                </c:pt>
                <c:pt idx="93" formatCode="General">
                  <c:v>1933270</c:v>
                </c:pt>
                <c:pt idx="94" formatCode="General">
                  <c:v>1964870</c:v>
                </c:pt>
                <c:pt idx="95" formatCode="General">
                  <c:v>1964870</c:v>
                </c:pt>
                <c:pt idx="96" formatCode="General">
                  <c:v>1964870</c:v>
                </c:pt>
                <c:pt idx="97" formatCode="General">
                  <c:v>1964870</c:v>
                </c:pt>
                <c:pt idx="98" formatCode="General">
                  <c:v>1964870</c:v>
                </c:pt>
                <c:pt idx="99" formatCode="General">
                  <c:v>1970170</c:v>
                </c:pt>
                <c:pt idx="100" formatCode="General">
                  <c:v>2255650</c:v>
                </c:pt>
                <c:pt idx="101" formatCode="General">
                  <c:v>2255650</c:v>
                </c:pt>
                <c:pt idx="102" formatCode="General">
                  <c:v>2362950</c:v>
                </c:pt>
                <c:pt idx="103" formatCode="General">
                  <c:v>2389650</c:v>
                </c:pt>
                <c:pt idx="104" formatCode="General">
                  <c:v>2389650</c:v>
                </c:pt>
                <c:pt idx="105" formatCode="General">
                  <c:v>2392550</c:v>
                </c:pt>
                <c:pt idx="106" formatCode="General">
                  <c:v>2679200</c:v>
                </c:pt>
                <c:pt idx="107" formatCode="General">
                  <c:v>2685300</c:v>
                </c:pt>
                <c:pt idx="108" formatCode="General">
                  <c:v>2685300</c:v>
                </c:pt>
                <c:pt idx="109" formatCode="General">
                  <c:v>2693600</c:v>
                </c:pt>
                <c:pt idx="110" formatCode="General">
                  <c:v>2693600</c:v>
                </c:pt>
                <c:pt idx="111" formatCode="General">
                  <c:v>2693600</c:v>
                </c:pt>
                <c:pt idx="112" formatCode="General">
                  <c:v>2693600</c:v>
                </c:pt>
                <c:pt idx="113" formatCode="General">
                  <c:v>3013650</c:v>
                </c:pt>
                <c:pt idx="114" formatCode="General">
                  <c:v>3013650</c:v>
                </c:pt>
                <c:pt idx="115" formatCode="General">
                  <c:v>3017350</c:v>
                </c:pt>
                <c:pt idx="116" formatCode="General">
                  <c:v>3017900</c:v>
                </c:pt>
                <c:pt idx="117" formatCode="General">
                  <c:v>3017900</c:v>
                </c:pt>
                <c:pt idx="118" formatCode="General">
                  <c:v>3017900</c:v>
                </c:pt>
                <c:pt idx="119" formatCode="General">
                  <c:v>3035800</c:v>
                </c:pt>
                <c:pt idx="120" formatCode="General">
                  <c:v>34645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D43-43C0-B046-DC96016FC4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3764288"/>
        <c:axId val="50879584"/>
      </c:lineChart>
      <c:catAx>
        <c:axId val="383764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1"/>
      </c:catAx>
      <c:valAx>
        <c:axId val="50879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  <c:majorUnit val="200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5619672675423385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čet na 100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arlovarský kraj</c:v>
                </c:pt>
                <c:pt idx="1">
                  <c:v>Královéhradecký kraj</c:v>
                </c:pt>
                <c:pt idx="2">
                  <c:v>Kraj Vysočina</c:v>
                </c:pt>
                <c:pt idx="3">
                  <c:v>Plzeňský kraj</c:v>
                </c:pt>
                <c:pt idx="4">
                  <c:v>Jihomoravský kraj</c:v>
                </c:pt>
                <c:pt idx="5">
                  <c:v>Jihočeský kraj</c:v>
                </c:pt>
                <c:pt idx="6">
                  <c:v>ČR</c:v>
                </c:pt>
                <c:pt idx="7">
                  <c:v>Olomoucký kraj</c:v>
                </c:pt>
                <c:pt idx="8">
                  <c:v>Středočeský kraj</c:v>
                </c:pt>
                <c:pt idx="9">
                  <c:v>Pardubický kraj</c:v>
                </c:pt>
                <c:pt idx="10">
                  <c:v>Ústecký kraj</c:v>
                </c:pt>
                <c:pt idx="11">
                  <c:v>Liberecký kraj</c:v>
                </c:pt>
                <c:pt idx="12">
                  <c:v>Zlínský kraj</c:v>
                </c:pt>
                <c:pt idx="13">
                  <c:v>Moravskoslez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09.31298000000001</c:v>
                </c:pt>
                <c:pt idx="1">
                  <c:v>196.37558100000001</c:v>
                </c:pt>
                <c:pt idx="2">
                  <c:v>192.42545799999999</c:v>
                </c:pt>
                <c:pt idx="3">
                  <c:v>185.78604100000001</c:v>
                </c:pt>
                <c:pt idx="4">
                  <c:v>185.42872499999999</c:v>
                </c:pt>
                <c:pt idx="5">
                  <c:v>184.59732700000001</c:v>
                </c:pt>
                <c:pt idx="6">
                  <c:v>184.55613</c:v>
                </c:pt>
                <c:pt idx="7">
                  <c:v>183.76620800000001</c:v>
                </c:pt>
                <c:pt idx="8">
                  <c:v>181.685475</c:v>
                </c:pt>
                <c:pt idx="9">
                  <c:v>181.18210199999999</c:v>
                </c:pt>
                <c:pt idx="10">
                  <c:v>179.27439100000001</c:v>
                </c:pt>
                <c:pt idx="11">
                  <c:v>178.49399399999999</c:v>
                </c:pt>
                <c:pt idx="12">
                  <c:v>177.98834400000001</c:v>
                </c:pt>
                <c:pt idx="13">
                  <c:v>174.95391699999999</c:v>
                </c:pt>
                <c:pt idx="14">
                  <c:v>172.871688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40-436F-97B1-569334F936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65387602612039508"/>
          <c:h val="0.8353430253390468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 ve věku 70-79 celkem</c:v>
                </c:pt>
              </c:strCache>
            </c:strRef>
          </c:tx>
          <c:spPr>
            <a:ln w="28575" cap="rnd">
              <a:solidFill>
                <a:srgbClr val="FF6600"/>
              </a:solidFill>
              <a:round/>
            </a:ln>
            <a:effectLst/>
          </c:spPr>
          <c:marker>
            <c:symbol val="none"/>
          </c:marker>
          <c:cat>
            <c:strRef>
              <c:f>List1!$C$1:$DS$1</c:f>
              <c:strCache>
                <c:ptCount val="121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</c:strCache>
            </c:strRef>
          </c:cat>
          <c:val>
            <c:numRef>
              <c:f>List1!$C$2:$DS$2</c:f>
              <c:numCache>
                <c:formatCode>General</c:formatCode>
                <c:ptCount val="121"/>
                <c:pt idx="0">
                  <c:v>173</c:v>
                </c:pt>
                <c:pt idx="1">
                  <c:v>328</c:v>
                </c:pt>
                <c:pt idx="2">
                  <c:v>484</c:v>
                </c:pt>
                <c:pt idx="3">
                  <c:v>595</c:v>
                </c:pt>
                <c:pt idx="4">
                  <c:v>603</c:v>
                </c:pt>
                <c:pt idx="5">
                  <c:v>643</c:v>
                </c:pt>
                <c:pt idx="6">
                  <c:v>672</c:v>
                </c:pt>
                <c:pt idx="7">
                  <c:v>803</c:v>
                </c:pt>
                <c:pt idx="8">
                  <c:v>952</c:v>
                </c:pt>
                <c:pt idx="9">
                  <c:v>1189</c:v>
                </c:pt>
                <c:pt idx="10">
                  <c:v>1641</c:v>
                </c:pt>
                <c:pt idx="11">
                  <c:v>2146</c:v>
                </c:pt>
                <c:pt idx="12">
                  <c:v>2325</c:v>
                </c:pt>
                <c:pt idx="13">
                  <c:v>2470</c:v>
                </c:pt>
                <c:pt idx="14">
                  <c:v>2924</c:v>
                </c:pt>
                <c:pt idx="15">
                  <c:v>3821</c:v>
                </c:pt>
                <c:pt idx="16">
                  <c:v>5021</c:v>
                </c:pt>
                <c:pt idx="17">
                  <c:v>6439</c:v>
                </c:pt>
                <c:pt idx="18">
                  <c:v>7671</c:v>
                </c:pt>
                <c:pt idx="19">
                  <c:v>8024</c:v>
                </c:pt>
                <c:pt idx="20">
                  <c:v>8249</c:v>
                </c:pt>
                <c:pt idx="21">
                  <c:v>9238</c:v>
                </c:pt>
                <c:pt idx="22">
                  <c:v>10224</c:v>
                </c:pt>
                <c:pt idx="23">
                  <c:v>11342</c:v>
                </c:pt>
                <c:pt idx="24">
                  <c:v>12489</c:v>
                </c:pt>
                <c:pt idx="25">
                  <c:v>13343</c:v>
                </c:pt>
                <c:pt idx="26">
                  <c:v>13551</c:v>
                </c:pt>
                <c:pt idx="27">
                  <c:v>13682</c:v>
                </c:pt>
                <c:pt idx="28">
                  <c:v>14212</c:v>
                </c:pt>
                <c:pt idx="29">
                  <c:v>14850</c:v>
                </c:pt>
                <c:pt idx="30">
                  <c:v>15432</c:v>
                </c:pt>
                <c:pt idx="31">
                  <c:v>16037</c:v>
                </c:pt>
                <c:pt idx="32">
                  <c:v>16682</c:v>
                </c:pt>
                <c:pt idx="33">
                  <c:v>16815</c:v>
                </c:pt>
                <c:pt idx="34">
                  <c:v>16955</c:v>
                </c:pt>
                <c:pt idx="35">
                  <c:v>17571</c:v>
                </c:pt>
                <c:pt idx="36">
                  <c:v>18423</c:v>
                </c:pt>
                <c:pt idx="37">
                  <c:v>19563</c:v>
                </c:pt>
                <c:pt idx="38">
                  <c:v>20890</c:v>
                </c:pt>
                <c:pt idx="39">
                  <c:v>22031</c:v>
                </c:pt>
                <c:pt idx="40">
                  <c:v>22188</c:v>
                </c:pt>
                <c:pt idx="41">
                  <c:v>22354</c:v>
                </c:pt>
                <c:pt idx="42">
                  <c:v>23296</c:v>
                </c:pt>
                <c:pt idx="43">
                  <c:v>24418</c:v>
                </c:pt>
                <c:pt idx="44">
                  <c:v>25729</c:v>
                </c:pt>
                <c:pt idx="45">
                  <c:v>27441</c:v>
                </c:pt>
                <c:pt idx="46">
                  <c:v>28897</c:v>
                </c:pt>
                <c:pt idx="47">
                  <c:v>29231</c:v>
                </c:pt>
                <c:pt idx="48">
                  <c:v>29316</c:v>
                </c:pt>
                <c:pt idx="49">
                  <c:v>30262</c:v>
                </c:pt>
                <c:pt idx="50">
                  <c:v>31473</c:v>
                </c:pt>
                <c:pt idx="51">
                  <c:v>32739</c:v>
                </c:pt>
                <c:pt idx="52">
                  <c:v>34089</c:v>
                </c:pt>
                <c:pt idx="53">
                  <c:v>35357</c:v>
                </c:pt>
                <c:pt idx="54">
                  <c:v>35488</c:v>
                </c:pt>
                <c:pt idx="55">
                  <c:v>35551</c:v>
                </c:pt>
                <c:pt idx="56">
                  <c:v>36417</c:v>
                </c:pt>
                <c:pt idx="57">
                  <c:v>37456</c:v>
                </c:pt>
                <c:pt idx="58">
                  <c:v>38870</c:v>
                </c:pt>
                <c:pt idx="59">
                  <c:v>40529</c:v>
                </c:pt>
                <c:pt idx="60">
                  <c:v>42489</c:v>
                </c:pt>
                <c:pt idx="61">
                  <c:v>42802</c:v>
                </c:pt>
                <c:pt idx="62">
                  <c:v>42944</c:v>
                </c:pt>
                <c:pt idx="63">
                  <c:v>45591</c:v>
                </c:pt>
                <c:pt idx="64">
                  <c:v>50952</c:v>
                </c:pt>
                <c:pt idx="65">
                  <c:v>60072</c:v>
                </c:pt>
                <c:pt idx="66">
                  <c:v>72360</c:v>
                </c:pt>
                <c:pt idx="67">
                  <c:v>84333</c:v>
                </c:pt>
                <c:pt idx="68">
                  <c:v>89213</c:v>
                </c:pt>
                <c:pt idx="69">
                  <c:v>93840</c:v>
                </c:pt>
                <c:pt idx="70">
                  <c:v>107892</c:v>
                </c:pt>
                <c:pt idx="71">
                  <c:v>125333</c:v>
                </c:pt>
                <c:pt idx="72">
                  <c:v>147971</c:v>
                </c:pt>
                <c:pt idx="73">
                  <c:v>172859</c:v>
                </c:pt>
                <c:pt idx="74">
                  <c:v>195220</c:v>
                </c:pt>
                <c:pt idx="75">
                  <c:v>205702</c:v>
                </c:pt>
                <c:pt idx="76">
                  <c:v>213322</c:v>
                </c:pt>
                <c:pt idx="77">
                  <c:v>231082</c:v>
                </c:pt>
                <c:pt idx="78">
                  <c:v>253842</c:v>
                </c:pt>
                <c:pt idx="79">
                  <c:v>277071</c:v>
                </c:pt>
                <c:pt idx="80">
                  <c:v>300682</c:v>
                </c:pt>
                <c:pt idx="81">
                  <c:v>320374</c:v>
                </c:pt>
                <c:pt idx="82">
                  <c:v>329642</c:v>
                </c:pt>
                <c:pt idx="83">
                  <c:v>334494</c:v>
                </c:pt>
                <c:pt idx="84">
                  <c:v>350195</c:v>
                </c:pt>
                <c:pt idx="85">
                  <c:v>367718</c:v>
                </c:pt>
                <c:pt idx="86">
                  <c:v>386445</c:v>
                </c:pt>
                <c:pt idx="87">
                  <c:v>404887</c:v>
                </c:pt>
                <c:pt idx="88">
                  <c:v>421162</c:v>
                </c:pt>
                <c:pt idx="89">
                  <c:v>428190</c:v>
                </c:pt>
                <c:pt idx="90">
                  <c:v>432388</c:v>
                </c:pt>
                <c:pt idx="91">
                  <c:v>449380</c:v>
                </c:pt>
                <c:pt idx="92">
                  <c:v>470317</c:v>
                </c:pt>
                <c:pt idx="93">
                  <c:v>493728</c:v>
                </c:pt>
                <c:pt idx="94">
                  <c:v>521418</c:v>
                </c:pt>
                <c:pt idx="95">
                  <c:v>531731</c:v>
                </c:pt>
                <c:pt idx="96">
                  <c:v>539079</c:v>
                </c:pt>
                <c:pt idx="97">
                  <c:v>544878</c:v>
                </c:pt>
                <c:pt idx="98">
                  <c:v>550045</c:v>
                </c:pt>
                <c:pt idx="99">
                  <c:v>572971</c:v>
                </c:pt>
                <c:pt idx="100">
                  <c:v>596332</c:v>
                </c:pt>
                <c:pt idx="101">
                  <c:v>634927</c:v>
                </c:pt>
                <c:pt idx="102">
                  <c:v>670055</c:v>
                </c:pt>
                <c:pt idx="103">
                  <c:v>687276</c:v>
                </c:pt>
                <c:pt idx="104">
                  <c:v>699273</c:v>
                </c:pt>
                <c:pt idx="105">
                  <c:v>734612</c:v>
                </c:pt>
                <c:pt idx="106">
                  <c:v>767383</c:v>
                </c:pt>
                <c:pt idx="107">
                  <c:v>803430</c:v>
                </c:pt>
                <c:pt idx="108">
                  <c:v>838805</c:v>
                </c:pt>
                <c:pt idx="109">
                  <c:v>866660</c:v>
                </c:pt>
                <c:pt idx="110">
                  <c:v>876224</c:v>
                </c:pt>
                <c:pt idx="111">
                  <c:v>883855</c:v>
                </c:pt>
                <c:pt idx="112">
                  <c:v>904007</c:v>
                </c:pt>
                <c:pt idx="113">
                  <c:v>923371</c:v>
                </c:pt>
                <c:pt idx="114">
                  <c:v>940102</c:v>
                </c:pt>
                <c:pt idx="115">
                  <c:v>959109</c:v>
                </c:pt>
                <c:pt idx="116">
                  <c:v>972759</c:v>
                </c:pt>
                <c:pt idx="117">
                  <c:v>978673</c:v>
                </c:pt>
                <c:pt idx="118">
                  <c:v>982463</c:v>
                </c:pt>
                <c:pt idx="119">
                  <c:v>992608</c:v>
                </c:pt>
                <c:pt idx="120">
                  <c:v>1004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Osoby ve věku 80+ celkem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C$1:$DS$1</c:f>
              <c:strCache>
                <c:ptCount val="121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</c:strCache>
            </c:strRef>
          </c:cat>
          <c:val>
            <c:numRef>
              <c:f>List1!$C$3:$DS$3</c:f>
              <c:numCache>
                <c:formatCode>General</c:formatCode>
                <c:ptCount val="121"/>
                <c:pt idx="0">
                  <c:v>124</c:v>
                </c:pt>
                <c:pt idx="1">
                  <c:v>404</c:v>
                </c:pt>
                <c:pt idx="2">
                  <c:v>598</c:v>
                </c:pt>
                <c:pt idx="3">
                  <c:v>716</c:v>
                </c:pt>
                <c:pt idx="4">
                  <c:v>719</c:v>
                </c:pt>
                <c:pt idx="5">
                  <c:v>731</c:v>
                </c:pt>
                <c:pt idx="6">
                  <c:v>734</c:v>
                </c:pt>
                <c:pt idx="7">
                  <c:v>764</c:v>
                </c:pt>
                <c:pt idx="8">
                  <c:v>805</c:v>
                </c:pt>
                <c:pt idx="9">
                  <c:v>872</c:v>
                </c:pt>
                <c:pt idx="10">
                  <c:v>1275</c:v>
                </c:pt>
                <c:pt idx="11">
                  <c:v>2134</c:v>
                </c:pt>
                <c:pt idx="12">
                  <c:v>2321</c:v>
                </c:pt>
                <c:pt idx="13">
                  <c:v>2428</c:v>
                </c:pt>
                <c:pt idx="14">
                  <c:v>3062</c:v>
                </c:pt>
                <c:pt idx="15">
                  <c:v>4719</c:v>
                </c:pt>
                <c:pt idx="16">
                  <c:v>6414</c:v>
                </c:pt>
                <c:pt idx="17">
                  <c:v>8702</c:v>
                </c:pt>
                <c:pt idx="18">
                  <c:v>10990</c:v>
                </c:pt>
                <c:pt idx="19">
                  <c:v>12498</c:v>
                </c:pt>
                <c:pt idx="20">
                  <c:v>14148</c:v>
                </c:pt>
                <c:pt idx="21">
                  <c:v>18851</c:v>
                </c:pt>
                <c:pt idx="22">
                  <c:v>24556</c:v>
                </c:pt>
                <c:pt idx="23">
                  <c:v>31083</c:v>
                </c:pt>
                <c:pt idx="24">
                  <c:v>39369</c:v>
                </c:pt>
                <c:pt idx="25">
                  <c:v>48291</c:v>
                </c:pt>
                <c:pt idx="26">
                  <c:v>50758</c:v>
                </c:pt>
                <c:pt idx="27">
                  <c:v>52593</c:v>
                </c:pt>
                <c:pt idx="28">
                  <c:v>58742</c:v>
                </c:pt>
                <c:pt idx="29">
                  <c:v>65103</c:v>
                </c:pt>
                <c:pt idx="30">
                  <c:v>70593</c:v>
                </c:pt>
                <c:pt idx="31">
                  <c:v>75232</c:v>
                </c:pt>
                <c:pt idx="32">
                  <c:v>79569</c:v>
                </c:pt>
                <c:pt idx="33">
                  <c:v>80197</c:v>
                </c:pt>
                <c:pt idx="34">
                  <c:v>80856</c:v>
                </c:pt>
                <c:pt idx="35">
                  <c:v>83789</c:v>
                </c:pt>
                <c:pt idx="36">
                  <c:v>87115</c:v>
                </c:pt>
                <c:pt idx="37">
                  <c:v>90708</c:v>
                </c:pt>
                <c:pt idx="38">
                  <c:v>95477</c:v>
                </c:pt>
                <c:pt idx="39">
                  <c:v>100221</c:v>
                </c:pt>
                <c:pt idx="40">
                  <c:v>102000</c:v>
                </c:pt>
                <c:pt idx="41">
                  <c:v>104104</c:v>
                </c:pt>
                <c:pt idx="42">
                  <c:v>110148</c:v>
                </c:pt>
                <c:pt idx="43">
                  <c:v>117668</c:v>
                </c:pt>
                <c:pt idx="44">
                  <c:v>126371</c:v>
                </c:pt>
                <c:pt idx="45">
                  <c:v>137529</c:v>
                </c:pt>
                <c:pt idx="46">
                  <c:v>148898</c:v>
                </c:pt>
                <c:pt idx="47">
                  <c:v>151796</c:v>
                </c:pt>
                <c:pt idx="48">
                  <c:v>153584</c:v>
                </c:pt>
                <c:pt idx="49">
                  <c:v>162460</c:v>
                </c:pt>
                <c:pt idx="50">
                  <c:v>173017</c:v>
                </c:pt>
                <c:pt idx="51">
                  <c:v>183133</c:v>
                </c:pt>
                <c:pt idx="52">
                  <c:v>194878</c:v>
                </c:pt>
                <c:pt idx="53">
                  <c:v>205963</c:v>
                </c:pt>
                <c:pt idx="54">
                  <c:v>208138</c:v>
                </c:pt>
                <c:pt idx="55">
                  <c:v>209760</c:v>
                </c:pt>
                <c:pt idx="56">
                  <c:v>219738</c:v>
                </c:pt>
                <c:pt idx="57">
                  <c:v>231653</c:v>
                </c:pt>
                <c:pt idx="58">
                  <c:v>242780</c:v>
                </c:pt>
                <c:pt idx="59">
                  <c:v>256063</c:v>
                </c:pt>
                <c:pt idx="60">
                  <c:v>267391</c:v>
                </c:pt>
                <c:pt idx="61">
                  <c:v>269600</c:v>
                </c:pt>
                <c:pt idx="62">
                  <c:v>271252</c:v>
                </c:pt>
                <c:pt idx="63">
                  <c:v>281116</c:v>
                </c:pt>
                <c:pt idx="64">
                  <c:v>290838</c:v>
                </c:pt>
                <c:pt idx="65">
                  <c:v>301020</c:v>
                </c:pt>
                <c:pt idx="66">
                  <c:v>311584</c:v>
                </c:pt>
                <c:pt idx="67">
                  <c:v>320200</c:v>
                </c:pt>
                <c:pt idx="68">
                  <c:v>322690</c:v>
                </c:pt>
                <c:pt idx="69">
                  <c:v>324901</c:v>
                </c:pt>
                <c:pt idx="70">
                  <c:v>332538</c:v>
                </c:pt>
                <c:pt idx="71">
                  <c:v>341824</c:v>
                </c:pt>
                <c:pt idx="72">
                  <c:v>351819</c:v>
                </c:pt>
                <c:pt idx="73">
                  <c:v>362295</c:v>
                </c:pt>
                <c:pt idx="74">
                  <c:v>370615</c:v>
                </c:pt>
                <c:pt idx="75">
                  <c:v>372949</c:v>
                </c:pt>
                <c:pt idx="76">
                  <c:v>374590</c:v>
                </c:pt>
                <c:pt idx="77">
                  <c:v>382044</c:v>
                </c:pt>
                <c:pt idx="78">
                  <c:v>391984</c:v>
                </c:pt>
                <c:pt idx="79">
                  <c:v>401431</c:v>
                </c:pt>
                <c:pt idx="80">
                  <c:v>412745</c:v>
                </c:pt>
                <c:pt idx="81">
                  <c:v>423580</c:v>
                </c:pt>
                <c:pt idx="82">
                  <c:v>425934</c:v>
                </c:pt>
                <c:pt idx="83">
                  <c:v>427538</c:v>
                </c:pt>
                <c:pt idx="84">
                  <c:v>435206</c:v>
                </c:pt>
                <c:pt idx="85">
                  <c:v>443017</c:v>
                </c:pt>
                <c:pt idx="86">
                  <c:v>450909</c:v>
                </c:pt>
                <c:pt idx="87">
                  <c:v>460590</c:v>
                </c:pt>
                <c:pt idx="88">
                  <c:v>468266</c:v>
                </c:pt>
                <c:pt idx="89">
                  <c:v>470105</c:v>
                </c:pt>
                <c:pt idx="90">
                  <c:v>471431</c:v>
                </c:pt>
                <c:pt idx="91">
                  <c:v>477887</c:v>
                </c:pt>
                <c:pt idx="92">
                  <c:v>484181</c:v>
                </c:pt>
                <c:pt idx="93">
                  <c:v>491051</c:v>
                </c:pt>
                <c:pt idx="94">
                  <c:v>498193</c:v>
                </c:pt>
                <c:pt idx="95">
                  <c:v>500219</c:v>
                </c:pt>
                <c:pt idx="96">
                  <c:v>501694</c:v>
                </c:pt>
                <c:pt idx="97">
                  <c:v>503019</c:v>
                </c:pt>
                <c:pt idx="98">
                  <c:v>503920</c:v>
                </c:pt>
                <c:pt idx="99">
                  <c:v>508243</c:v>
                </c:pt>
                <c:pt idx="100">
                  <c:v>512574</c:v>
                </c:pt>
                <c:pt idx="101">
                  <c:v>518544</c:v>
                </c:pt>
                <c:pt idx="102">
                  <c:v>523441</c:v>
                </c:pt>
                <c:pt idx="103">
                  <c:v>525198</c:v>
                </c:pt>
                <c:pt idx="104">
                  <c:v>526255</c:v>
                </c:pt>
                <c:pt idx="105">
                  <c:v>529600</c:v>
                </c:pt>
                <c:pt idx="106">
                  <c:v>533105</c:v>
                </c:pt>
                <c:pt idx="107">
                  <c:v>536456</c:v>
                </c:pt>
                <c:pt idx="108">
                  <c:v>540432</c:v>
                </c:pt>
                <c:pt idx="109">
                  <c:v>543676</c:v>
                </c:pt>
                <c:pt idx="110">
                  <c:v>544381</c:v>
                </c:pt>
                <c:pt idx="111">
                  <c:v>544916</c:v>
                </c:pt>
                <c:pt idx="112">
                  <c:v>547196</c:v>
                </c:pt>
                <c:pt idx="113">
                  <c:v>549570</c:v>
                </c:pt>
                <c:pt idx="114">
                  <c:v>551814</c:v>
                </c:pt>
                <c:pt idx="115">
                  <c:v>554337</c:v>
                </c:pt>
                <c:pt idx="116">
                  <c:v>556159</c:v>
                </c:pt>
                <c:pt idx="117">
                  <c:v>556717</c:v>
                </c:pt>
                <c:pt idx="118">
                  <c:v>557049</c:v>
                </c:pt>
                <c:pt idx="119">
                  <c:v>558466</c:v>
                </c:pt>
                <c:pt idx="120">
                  <c:v>5599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Zdravotničtí pracovníci / ochrana veřejného zdraví celkem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C$1:$DS$1</c:f>
              <c:strCache>
                <c:ptCount val="121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</c:strCache>
            </c:strRef>
          </c:cat>
          <c:val>
            <c:numRef>
              <c:f>List1!$C$4:$DS$4</c:f>
              <c:numCache>
                <c:formatCode>General</c:formatCode>
                <c:ptCount val="121"/>
                <c:pt idx="0">
                  <c:v>3088</c:v>
                </c:pt>
                <c:pt idx="1">
                  <c:v>5936</c:v>
                </c:pt>
                <c:pt idx="2">
                  <c:v>8822</c:v>
                </c:pt>
                <c:pt idx="3">
                  <c:v>9800</c:v>
                </c:pt>
                <c:pt idx="4">
                  <c:v>10045</c:v>
                </c:pt>
                <c:pt idx="5">
                  <c:v>11246</c:v>
                </c:pt>
                <c:pt idx="6">
                  <c:v>12115</c:v>
                </c:pt>
                <c:pt idx="7">
                  <c:v>15411</c:v>
                </c:pt>
                <c:pt idx="8">
                  <c:v>19587</c:v>
                </c:pt>
                <c:pt idx="9">
                  <c:v>24885</c:v>
                </c:pt>
                <c:pt idx="10">
                  <c:v>31353</c:v>
                </c:pt>
                <c:pt idx="11">
                  <c:v>38684</c:v>
                </c:pt>
                <c:pt idx="12">
                  <c:v>40004</c:v>
                </c:pt>
                <c:pt idx="13">
                  <c:v>41168</c:v>
                </c:pt>
                <c:pt idx="14">
                  <c:v>48510</c:v>
                </c:pt>
                <c:pt idx="15">
                  <c:v>57090</c:v>
                </c:pt>
                <c:pt idx="16">
                  <c:v>64590</c:v>
                </c:pt>
                <c:pt idx="17">
                  <c:v>72582</c:v>
                </c:pt>
                <c:pt idx="18">
                  <c:v>79536</c:v>
                </c:pt>
                <c:pt idx="19">
                  <c:v>80636</c:v>
                </c:pt>
                <c:pt idx="20">
                  <c:v>81848</c:v>
                </c:pt>
                <c:pt idx="21">
                  <c:v>88612</c:v>
                </c:pt>
                <c:pt idx="22">
                  <c:v>95113</c:v>
                </c:pt>
                <c:pt idx="23">
                  <c:v>101466</c:v>
                </c:pt>
                <c:pt idx="24">
                  <c:v>107064</c:v>
                </c:pt>
                <c:pt idx="25">
                  <c:v>111303</c:v>
                </c:pt>
                <c:pt idx="26">
                  <c:v>112684</c:v>
                </c:pt>
                <c:pt idx="27">
                  <c:v>113944</c:v>
                </c:pt>
                <c:pt idx="28">
                  <c:v>118848</c:v>
                </c:pt>
                <c:pt idx="29">
                  <c:v>124764</c:v>
                </c:pt>
                <c:pt idx="30">
                  <c:v>130825</c:v>
                </c:pt>
                <c:pt idx="31">
                  <c:v>137641</c:v>
                </c:pt>
                <c:pt idx="32">
                  <c:v>145274</c:v>
                </c:pt>
                <c:pt idx="33">
                  <c:v>146031</c:v>
                </c:pt>
                <c:pt idx="34">
                  <c:v>146775</c:v>
                </c:pt>
                <c:pt idx="35">
                  <c:v>153861</c:v>
                </c:pt>
                <c:pt idx="36">
                  <c:v>162076</c:v>
                </c:pt>
                <c:pt idx="37">
                  <c:v>169899</c:v>
                </c:pt>
                <c:pt idx="38">
                  <c:v>178468</c:v>
                </c:pt>
                <c:pt idx="39">
                  <c:v>185915</c:v>
                </c:pt>
                <c:pt idx="40">
                  <c:v>186923</c:v>
                </c:pt>
                <c:pt idx="41">
                  <c:v>187862</c:v>
                </c:pt>
                <c:pt idx="42">
                  <c:v>194182</c:v>
                </c:pt>
                <c:pt idx="43">
                  <c:v>199804</c:v>
                </c:pt>
                <c:pt idx="44">
                  <c:v>205305</c:v>
                </c:pt>
                <c:pt idx="45">
                  <c:v>211109</c:v>
                </c:pt>
                <c:pt idx="46">
                  <c:v>216516</c:v>
                </c:pt>
                <c:pt idx="47">
                  <c:v>217679</c:v>
                </c:pt>
                <c:pt idx="48">
                  <c:v>218208</c:v>
                </c:pt>
                <c:pt idx="49">
                  <c:v>222756</c:v>
                </c:pt>
                <c:pt idx="50">
                  <c:v>226580</c:v>
                </c:pt>
                <c:pt idx="51">
                  <c:v>230043</c:v>
                </c:pt>
                <c:pt idx="52">
                  <c:v>233815</c:v>
                </c:pt>
                <c:pt idx="53">
                  <c:v>237953</c:v>
                </c:pt>
                <c:pt idx="54">
                  <c:v>238568</c:v>
                </c:pt>
                <c:pt idx="55">
                  <c:v>238839</c:v>
                </c:pt>
                <c:pt idx="56">
                  <c:v>241945</c:v>
                </c:pt>
                <c:pt idx="57">
                  <c:v>246152</c:v>
                </c:pt>
                <c:pt idx="58">
                  <c:v>250207</c:v>
                </c:pt>
                <c:pt idx="59">
                  <c:v>255108</c:v>
                </c:pt>
                <c:pt idx="60">
                  <c:v>259580</c:v>
                </c:pt>
                <c:pt idx="61">
                  <c:v>260002</c:v>
                </c:pt>
                <c:pt idx="62">
                  <c:v>260313</c:v>
                </c:pt>
                <c:pt idx="63">
                  <c:v>263988</c:v>
                </c:pt>
                <c:pt idx="64">
                  <c:v>268136</c:v>
                </c:pt>
                <c:pt idx="65">
                  <c:v>272404</c:v>
                </c:pt>
                <c:pt idx="66">
                  <c:v>276086</c:v>
                </c:pt>
                <c:pt idx="67">
                  <c:v>280582</c:v>
                </c:pt>
                <c:pt idx="68">
                  <c:v>281447</c:v>
                </c:pt>
                <c:pt idx="69">
                  <c:v>282183</c:v>
                </c:pt>
                <c:pt idx="70">
                  <c:v>285516</c:v>
                </c:pt>
                <c:pt idx="71">
                  <c:v>289159</c:v>
                </c:pt>
                <c:pt idx="72">
                  <c:v>293241</c:v>
                </c:pt>
                <c:pt idx="73">
                  <c:v>298423</c:v>
                </c:pt>
                <c:pt idx="74">
                  <c:v>303443</c:v>
                </c:pt>
                <c:pt idx="75">
                  <c:v>304424</c:v>
                </c:pt>
                <c:pt idx="76">
                  <c:v>305414</c:v>
                </c:pt>
                <c:pt idx="77">
                  <c:v>309145</c:v>
                </c:pt>
                <c:pt idx="78">
                  <c:v>313809</c:v>
                </c:pt>
                <c:pt idx="79">
                  <c:v>318554</c:v>
                </c:pt>
                <c:pt idx="80">
                  <c:v>323316</c:v>
                </c:pt>
                <c:pt idx="81">
                  <c:v>328998</c:v>
                </c:pt>
                <c:pt idx="82">
                  <c:v>330480</c:v>
                </c:pt>
                <c:pt idx="83">
                  <c:v>331294</c:v>
                </c:pt>
                <c:pt idx="84">
                  <c:v>334998</c:v>
                </c:pt>
                <c:pt idx="85">
                  <c:v>338897</c:v>
                </c:pt>
                <c:pt idx="86">
                  <c:v>342725</c:v>
                </c:pt>
                <c:pt idx="87">
                  <c:v>346935</c:v>
                </c:pt>
                <c:pt idx="88">
                  <c:v>351811</c:v>
                </c:pt>
                <c:pt idx="89">
                  <c:v>353076</c:v>
                </c:pt>
                <c:pt idx="90">
                  <c:v>353917</c:v>
                </c:pt>
                <c:pt idx="91">
                  <c:v>357331</c:v>
                </c:pt>
                <c:pt idx="92">
                  <c:v>361169</c:v>
                </c:pt>
                <c:pt idx="93">
                  <c:v>365213</c:v>
                </c:pt>
                <c:pt idx="94">
                  <c:v>369723</c:v>
                </c:pt>
                <c:pt idx="95">
                  <c:v>371260</c:v>
                </c:pt>
                <c:pt idx="96">
                  <c:v>372433</c:v>
                </c:pt>
                <c:pt idx="97">
                  <c:v>373191</c:v>
                </c:pt>
                <c:pt idx="98">
                  <c:v>373846</c:v>
                </c:pt>
                <c:pt idx="99">
                  <c:v>377768</c:v>
                </c:pt>
                <c:pt idx="100">
                  <c:v>380899</c:v>
                </c:pt>
                <c:pt idx="101">
                  <c:v>384936</c:v>
                </c:pt>
                <c:pt idx="102">
                  <c:v>389432</c:v>
                </c:pt>
                <c:pt idx="103">
                  <c:v>391185</c:v>
                </c:pt>
                <c:pt idx="104">
                  <c:v>392240</c:v>
                </c:pt>
                <c:pt idx="105">
                  <c:v>395319</c:v>
                </c:pt>
                <c:pt idx="106">
                  <c:v>398509</c:v>
                </c:pt>
                <c:pt idx="107">
                  <c:v>401864</c:v>
                </c:pt>
                <c:pt idx="108">
                  <c:v>405574</c:v>
                </c:pt>
                <c:pt idx="109">
                  <c:v>409778</c:v>
                </c:pt>
                <c:pt idx="110">
                  <c:v>410967</c:v>
                </c:pt>
                <c:pt idx="111">
                  <c:v>412058</c:v>
                </c:pt>
                <c:pt idx="112">
                  <c:v>414785</c:v>
                </c:pt>
                <c:pt idx="113">
                  <c:v>417443</c:v>
                </c:pt>
                <c:pt idx="114">
                  <c:v>420001</c:v>
                </c:pt>
                <c:pt idx="115">
                  <c:v>422847</c:v>
                </c:pt>
                <c:pt idx="116">
                  <c:v>425615</c:v>
                </c:pt>
                <c:pt idx="117">
                  <c:v>426544</c:v>
                </c:pt>
                <c:pt idx="118">
                  <c:v>427380</c:v>
                </c:pt>
                <c:pt idx="119">
                  <c:v>429415</c:v>
                </c:pt>
                <c:pt idx="120">
                  <c:v>431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Osoby ve věku 65-69 celkem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C$1:$DS$1</c:f>
              <c:strCache>
                <c:ptCount val="121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</c:strCache>
            </c:strRef>
          </c:cat>
          <c:val>
            <c:numRef>
              <c:f>List1!$C$5:$DS$5</c:f>
              <c:numCache>
                <c:formatCode>General</c:formatCode>
                <c:ptCount val="121"/>
                <c:pt idx="0">
                  <c:v>218</c:v>
                </c:pt>
                <c:pt idx="1">
                  <c:v>396</c:v>
                </c:pt>
                <c:pt idx="2">
                  <c:v>561</c:v>
                </c:pt>
                <c:pt idx="3">
                  <c:v>622</c:v>
                </c:pt>
                <c:pt idx="4">
                  <c:v>634</c:v>
                </c:pt>
                <c:pt idx="5">
                  <c:v>684</c:v>
                </c:pt>
                <c:pt idx="6">
                  <c:v>726</c:v>
                </c:pt>
                <c:pt idx="7">
                  <c:v>919</c:v>
                </c:pt>
                <c:pt idx="8">
                  <c:v>1144</c:v>
                </c:pt>
                <c:pt idx="9">
                  <c:v>1428</c:v>
                </c:pt>
                <c:pt idx="10">
                  <c:v>1801</c:v>
                </c:pt>
                <c:pt idx="11">
                  <c:v>2245</c:v>
                </c:pt>
                <c:pt idx="12">
                  <c:v>2392</c:v>
                </c:pt>
                <c:pt idx="13">
                  <c:v>2518</c:v>
                </c:pt>
                <c:pt idx="14">
                  <c:v>2981</c:v>
                </c:pt>
                <c:pt idx="15">
                  <c:v>3688</c:v>
                </c:pt>
                <c:pt idx="16">
                  <c:v>4443</c:v>
                </c:pt>
                <c:pt idx="17">
                  <c:v>5320</c:v>
                </c:pt>
                <c:pt idx="18">
                  <c:v>6134</c:v>
                </c:pt>
                <c:pt idx="19">
                  <c:v>6300</c:v>
                </c:pt>
                <c:pt idx="20">
                  <c:v>6413</c:v>
                </c:pt>
                <c:pt idx="21">
                  <c:v>7127</c:v>
                </c:pt>
                <c:pt idx="22">
                  <c:v>7860</c:v>
                </c:pt>
                <c:pt idx="23">
                  <c:v>8557</c:v>
                </c:pt>
                <c:pt idx="24">
                  <c:v>9207</c:v>
                </c:pt>
                <c:pt idx="25">
                  <c:v>9683</c:v>
                </c:pt>
                <c:pt idx="26">
                  <c:v>9784</c:v>
                </c:pt>
                <c:pt idx="27">
                  <c:v>9872</c:v>
                </c:pt>
                <c:pt idx="28">
                  <c:v>10297</c:v>
                </c:pt>
                <c:pt idx="29">
                  <c:v>10870</c:v>
                </c:pt>
                <c:pt idx="30">
                  <c:v>11307</c:v>
                </c:pt>
                <c:pt idx="31">
                  <c:v>11768</c:v>
                </c:pt>
                <c:pt idx="32">
                  <c:v>12295</c:v>
                </c:pt>
                <c:pt idx="33">
                  <c:v>12413</c:v>
                </c:pt>
                <c:pt idx="34">
                  <c:v>12517</c:v>
                </c:pt>
                <c:pt idx="35">
                  <c:v>13039</c:v>
                </c:pt>
                <c:pt idx="36">
                  <c:v>13714</c:v>
                </c:pt>
                <c:pt idx="37">
                  <c:v>14472</c:v>
                </c:pt>
                <c:pt idx="38">
                  <c:v>15352</c:v>
                </c:pt>
                <c:pt idx="39">
                  <c:v>16131</c:v>
                </c:pt>
                <c:pt idx="40">
                  <c:v>16248</c:v>
                </c:pt>
                <c:pt idx="41">
                  <c:v>16337</c:v>
                </c:pt>
                <c:pt idx="42">
                  <c:v>16971</c:v>
                </c:pt>
                <c:pt idx="43">
                  <c:v>17683</c:v>
                </c:pt>
                <c:pt idx="44">
                  <c:v>18401</c:v>
                </c:pt>
                <c:pt idx="45">
                  <c:v>19294</c:v>
                </c:pt>
                <c:pt idx="46">
                  <c:v>20083</c:v>
                </c:pt>
                <c:pt idx="47">
                  <c:v>20217</c:v>
                </c:pt>
                <c:pt idx="48">
                  <c:v>20280</c:v>
                </c:pt>
                <c:pt idx="49">
                  <c:v>20785</c:v>
                </c:pt>
                <c:pt idx="50">
                  <c:v>21374</c:v>
                </c:pt>
                <c:pt idx="51">
                  <c:v>21962</c:v>
                </c:pt>
                <c:pt idx="52">
                  <c:v>22739</c:v>
                </c:pt>
                <c:pt idx="53">
                  <c:v>23343</c:v>
                </c:pt>
                <c:pt idx="54">
                  <c:v>23429</c:v>
                </c:pt>
                <c:pt idx="55">
                  <c:v>23462</c:v>
                </c:pt>
                <c:pt idx="56">
                  <c:v>23921</c:v>
                </c:pt>
                <c:pt idx="57">
                  <c:v>24551</c:v>
                </c:pt>
                <c:pt idx="58">
                  <c:v>25258</c:v>
                </c:pt>
                <c:pt idx="59">
                  <c:v>26039</c:v>
                </c:pt>
                <c:pt idx="60">
                  <c:v>26846</c:v>
                </c:pt>
                <c:pt idx="61">
                  <c:v>26926</c:v>
                </c:pt>
                <c:pt idx="62">
                  <c:v>26995</c:v>
                </c:pt>
                <c:pt idx="63">
                  <c:v>28018</c:v>
                </c:pt>
                <c:pt idx="64">
                  <c:v>29535</c:v>
                </c:pt>
                <c:pt idx="65">
                  <c:v>31149</c:v>
                </c:pt>
                <c:pt idx="66">
                  <c:v>32896</c:v>
                </c:pt>
                <c:pt idx="67">
                  <c:v>34294</c:v>
                </c:pt>
                <c:pt idx="68">
                  <c:v>34868</c:v>
                </c:pt>
                <c:pt idx="69">
                  <c:v>35530</c:v>
                </c:pt>
                <c:pt idx="70">
                  <c:v>36717</c:v>
                </c:pt>
                <c:pt idx="71">
                  <c:v>38110</c:v>
                </c:pt>
                <c:pt idx="72">
                  <c:v>39621</c:v>
                </c:pt>
                <c:pt idx="73">
                  <c:v>41476</c:v>
                </c:pt>
                <c:pt idx="74">
                  <c:v>43352</c:v>
                </c:pt>
                <c:pt idx="75">
                  <c:v>43813</c:v>
                </c:pt>
                <c:pt idx="76">
                  <c:v>44145</c:v>
                </c:pt>
                <c:pt idx="77">
                  <c:v>45496</c:v>
                </c:pt>
                <c:pt idx="78">
                  <c:v>47286</c:v>
                </c:pt>
                <c:pt idx="79">
                  <c:v>49060</c:v>
                </c:pt>
                <c:pt idx="80">
                  <c:v>50903</c:v>
                </c:pt>
                <c:pt idx="81">
                  <c:v>52993</c:v>
                </c:pt>
                <c:pt idx="82">
                  <c:v>53460</c:v>
                </c:pt>
                <c:pt idx="83">
                  <c:v>53634</c:v>
                </c:pt>
                <c:pt idx="84">
                  <c:v>55376</c:v>
                </c:pt>
                <c:pt idx="85">
                  <c:v>57351</c:v>
                </c:pt>
                <c:pt idx="86">
                  <c:v>59770</c:v>
                </c:pt>
                <c:pt idx="87">
                  <c:v>62108</c:v>
                </c:pt>
                <c:pt idx="88">
                  <c:v>64564</c:v>
                </c:pt>
                <c:pt idx="89">
                  <c:v>65132</c:v>
                </c:pt>
                <c:pt idx="90">
                  <c:v>65768</c:v>
                </c:pt>
                <c:pt idx="91">
                  <c:v>68399</c:v>
                </c:pt>
                <c:pt idx="92">
                  <c:v>71318</c:v>
                </c:pt>
                <c:pt idx="93">
                  <c:v>74293</c:v>
                </c:pt>
                <c:pt idx="94">
                  <c:v>77708</c:v>
                </c:pt>
                <c:pt idx="95">
                  <c:v>78719</c:v>
                </c:pt>
                <c:pt idx="96">
                  <c:v>79355</c:v>
                </c:pt>
                <c:pt idx="97">
                  <c:v>79773</c:v>
                </c:pt>
                <c:pt idx="98">
                  <c:v>80142</c:v>
                </c:pt>
                <c:pt idx="99">
                  <c:v>82487</c:v>
                </c:pt>
                <c:pt idx="100">
                  <c:v>85396</c:v>
                </c:pt>
                <c:pt idx="101">
                  <c:v>89911</c:v>
                </c:pt>
                <c:pt idx="102">
                  <c:v>94706</c:v>
                </c:pt>
                <c:pt idx="103">
                  <c:v>96585</c:v>
                </c:pt>
                <c:pt idx="104">
                  <c:v>97622</c:v>
                </c:pt>
                <c:pt idx="105">
                  <c:v>102974</c:v>
                </c:pt>
                <c:pt idx="106">
                  <c:v>108303</c:v>
                </c:pt>
                <c:pt idx="107">
                  <c:v>115142</c:v>
                </c:pt>
                <c:pt idx="108">
                  <c:v>125792</c:v>
                </c:pt>
                <c:pt idx="109">
                  <c:v>135462</c:v>
                </c:pt>
                <c:pt idx="110">
                  <c:v>140036</c:v>
                </c:pt>
                <c:pt idx="111">
                  <c:v>142870</c:v>
                </c:pt>
                <c:pt idx="112">
                  <c:v>158677</c:v>
                </c:pt>
                <c:pt idx="113">
                  <c:v>175083</c:v>
                </c:pt>
                <c:pt idx="114">
                  <c:v>197165</c:v>
                </c:pt>
                <c:pt idx="115">
                  <c:v>223200</c:v>
                </c:pt>
                <c:pt idx="116">
                  <c:v>243280</c:v>
                </c:pt>
                <c:pt idx="117">
                  <c:v>251438</c:v>
                </c:pt>
                <c:pt idx="118">
                  <c:v>257864</c:v>
                </c:pt>
                <c:pt idx="119">
                  <c:v>281194</c:v>
                </c:pt>
                <c:pt idx="120">
                  <c:v>3004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9B2-46E3-85FE-A83BCF6CC085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Pracovníci ve školství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C$1:$DS$1</c:f>
              <c:strCache>
                <c:ptCount val="121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</c:strCache>
            </c:strRef>
          </c:cat>
          <c:val>
            <c:numRef>
              <c:f>List1!$C$6:$DS$6</c:f>
              <c:numCache>
                <c:formatCode>General</c:formatCode>
                <c:ptCount val="1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4</c:v>
                </c:pt>
                <c:pt idx="34">
                  <c:v>4</c:v>
                </c:pt>
                <c:pt idx="35">
                  <c:v>4</c:v>
                </c:pt>
                <c:pt idx="36">
                  <c:v>7</c:v>
                </c:pt>
                <c:pt idx="37">
                  <c:v>8</c:v>
                </c:pt>
                <c:pt idx="38">
                  <c:v>8</c:v>
                </c:pt>
                <c:pt idx="39">
                  <c:v>8</c:v>
                </c:pt>
                <c:pt idx="40">
                  <c:v>8</c:v>
                </c:pt>
                <c:pt idx="41">
                  <c:v>8</c:v>
                </c:pt>
                <c:pt idx="42">
                  <c:v>8</c:v>
                </c:pt>
                <c:pt idx="43">
                  <c:v>9</c:v>
                </c:pt>
                <c:pt idx="44">
                  <c:v>9</c:v>
                </c:pt>
                <c:pt idx="45">
                  <c:v>10</c:v>
                </c:pt>
                <c:pt idx="46">
                  <c:v>11</c:v>
                </c:pt>
                <c:pt idx="47">
                  <c:v>12</c:v>
                </c:pt>
                <c:pt idx="48">
                  <c:v>12</c:v>
                </c:pt>
                <c:pt idx="49">
                  <c:v>12</c:v>
                </c:pt>
                <c:pt idx="50">
                  <c:v>13</c:v>
                </c:pt>
                <c:pt idx="51">
                  <c:v>14</c:v>
                </c:pt>
                <c:pt idx="52">
                  <c:v>16</c:v>
                </c:pt>
                <c:pt idx="53">
                  <c:v>19</c:v>
                </c:pt>
                <c:pt idx="54">
                  <c:v>22</c:v>
                </c:pt>
                <c:pt idx="55">
                  <c:v>22</c:v>
                </c:pt>
                <c:pt idx="56">
                  <c:v>23</c:v>
                </c:pt>
                <c:pt idx="57">
                  <c:v>25</c:v>
                </c:pt>
                <c:pt idx="58">
                  <c:v>31</c:v>
                </c:pt>
                <c:pt idx="59">
                  <c:v>71</c:v>
                </c:pt>
                <c:pt idx="60">
                  <c:v>122</c:v>
                </c:pt>
                <c:pt idx="61">
                  <c:v>156</c:v>
                </c:pt>
                <c:pt idx="62">
                  <c:v>334</c:v>
                </c:pt>
                <c:pt idx="63">
                  <c:v>3357</c:v>
                </c:pt>
                <c:pt idx="64">
                  <c:v>9387</c:v>
                </c:pt>
                <c:pt idx="65">
                  <c:v>14689</c:v>
                </c:pt>
                <c:pt idx="66">
                  <c:v>20564</c:v>
                </c:pt>
                <c:pt idx="67">
                  <c:v>24850</c:v>
                </c:pt>
                <c:pt idx="68">
                  <c:v>27234</c:v>
                </c:pt>
                <c:pt idx="69">
                  <c:v>29581</c:v>
                </c:pt>
                <c:pt idx="70">
                  <c:v>34823</c:v>
                </c:pt>
                <c:pt idx="71">
                  <c:v>41173</c:v>
                </c:pt>
                <c:pt idx="72">
                  <c:v>46543</c:v>
                </c:pt>
                <c:pt idx="73">
                  <c:v>51727</c:v>
                </c:pt>
                <c:pt idx="74">
                  <c:v>55896</c:v>
                </c:pt>
                <c:pt idx="75">
                  <c:v>58438</c:v>
                </c:pt>
                <c:pt idx="76">
                  <c:v>60023</c:v>
                </c:pt>
                <c:pt idx="77">
                  <c:v>62687</c:v>
                </c:pt>
                <c:pt idx="78">
                  <c:v>67791</c:v>
                </c:pt>
                <c:pt idx="79">
                  <c:v>71819</c:v>
                </c:pt>
                <c:pt idx="80">
                  <c:v>75704</c:v>
                </c:pt>
                <c:pt idx="81">
                  <c:v>80192</c:v>
                </c:pt>
                <c:pt idx="82">
                  <c:v>82379</c:v>
                </c:pt>
                <c:pt idx="83">
                  <c:v>83082</c:v>
                </c:pt>
                <c:pt idx="84">
                  <c:v>87562</c:v>
                </c:pt>
                <c:pt idx="85">
                  <c:v>91869</c:v>
                </c:pt>
                <c:pt idx="86">
                  <c:v>95969</c:v>
                </c:pt>
                <c:pt idx="87">
                  <c:v>100177</c:v>
                </c:pt>
                <c:pt idx="88">
                  <c:v>105316</c:v>
                </c:pt>
                <c:pt idx="89">
                  <c:v>106711</c:v>
                </c:pt>
                <c:pt idx="90">
                  <c:v>108176</c:v>
                </c:pt>
                <c:pt idx="91">
                  <c:v>113739</c:v>
                </c:pt>
                <c:pt idx="92">
                  <c:v>120910</c:v>
                </c:pt>
                <c:pt idx="93">
                  <c:v>126898</c:v>
                </c:pt>
                <c:pt idx="94">
                  <c:v>133466</c:v>
                </c:pt>
                <c:pt idx="95">
                  <c:v>135749</c:v>
                </c:pt>
                <c:pt idx="96">
                  <c:v>137594</c:v>
                </c:pt>
                <c:pt idx="97">
                  <c:v>139267</c:v>
                </c:pt>
                <c:pt idx="98">
                  <c:v>140092</c:v>
                </c:pt>
                <c:pt idx="99">
                  <c:v>145388</c:v>
                </c:pt>
                <c:pt idx="100">
                  <c:v>151245</c:v>
                </c:pt>
                <c:pt idx="101">
                  <c:v>157157</c:v>
                </c:pt>
                <c:pt idx="102">
                  <c:v>164777</c:v>
                </c:pt>
                <c:pt idx="103">
                  <c:v>168774</c:v>
                </c:pt>
                <c:pt idx="104">
                  <c:v>171162</c:v>
                </c:pt>
                <c:pt idx="105">
                  <c:v>177362</c:v>
                </c:pt>
                <c:pt idx="106">
                  <c:v>184364</c:v>
                </c:pt>
                <c:pt idx="107">
                  <c:v>190383</c:v>
                </c:pt>
                <c:pt idx="108">
                  <c:v>196501</c:v>
                </c:pt>
                <c:pt idx="109">
                  <c:v>206373</c:v>
                </c:pt>
                <c:pt idx="110">
                  <c:v>210330</c:v>
                </c:pt>
                <c:pt idx="111">
                  <c:v>213219</c:v>
                </c:pt>
                <c:pt idx="112">
                  <c:v>217863</c:v>
                </c:pt>
                <c:pt idx="113">
                  <c:v>222655</c:v>
                </c:pt>
                <c:pt idx="114">
                  <c:v>226805</c:v>
                </c:pt>
                <c:pt idx="115">
                  <c:v>230984</c:v>
                </c:pt>
                <c:pt idx="116">
                  <c:v>236776</c:v>
                </c:pt>
                <c:pt idx="117">
                  <c:v>237910</c:v>
                </c:pt>
                <c:pt idx="118">
                  <c:v>239051</c:v>
                </c:pt>
                <c:pt idx="119">
                  <c:v>241494</c:v>
                </c:pt>
                <c:pt idx="120">
                  <c:v>2444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19-41FB-ABC8-408C78914621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Ostatní</c:v>
                </c:pt>
              </c:strCache>
            </c:strRef>
          </c:tx>
          <c:spPr>
            <a:ln w="28575" cap="rnd">
              <a:solidFill>
                <a:srgbClr val="FFFFFF">
                  <a:lumMod val="50000"/>
                </a:srgbClr>
              </a:solidFill>
              <a:round/>
            </a:ln>
            <a:effectLst/>
          </c:spPr>
          <c:marker>
            <c:symbol val="none"/>
          </c:marker>
          <c:cat>
            <c:strRef>
              <c:f>List1!$C$1:$DS$1</c:f>
              <c:strCache>
                <c:ptCount val="121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</c:strCache>
            </c:strRef>
          </c:cat>
          <c:val>
            <c:numRef>
              <c:f>List1!$C$7:$DS$7</c:f>
              <c:numCache>
                <c:formatCode>General</c:formatCode>
                <c:ptCount val="121"/>
                <c:pt idx="0">
                  <c:v>198</c:v>
                </c:pt>
                <c:pt idx="1">
                  <c:v>357</c:v>
                </c:pt>
                <c:pt idx="2">
                  <c:v>580</c:v>
                </c:pt>
                <c:pt idx="3">
                  <c:v>650</c:v>
                </c:pt>
                <c:pt idx="4">
                  <c:v>657</c:v>
                </c:pt>
                <c:pt idx="5">
                  <c:v>707</c:v>
                </c:pt>
                <c:pt idx="6">
                  <c:v>734</c:v>
                </c:pt>
                <c:pt idx="7">
                  <c:v>914</c:v>
                </c:pt>
                <c:pt idx="8">
                  <c:v>1082</c:v>
                </c:pt>
                <c:pt idx="9">
                  <c:v>1350</c:v>
                </c:pt>
                <c:pt idx="10">
                  <c:v>1912</c:v>
                </c:pt>
                <c:pt idx="11">
                  <c:v>2682</c:v>
                </c:pt>
                <c:pt idx="12">
                  <c:v>2898</c:v>
                </c:pt>
                <c:pt idx="13">
                  <c:v>3168</c:v>
                </c:pt>
                <c:pt idx="14">
                  <c:v>4377</c:v>
                </c:pt>
                <c:pt idx="15">
                  <c:v>6230</c:v>
                </c:pt>
                <c:pt idx="16">
                  <c:v>8255</c:v>
                </c:pt>
                <c:pt idx="17">
                  <c:v>10239</c:v>
                </c:pt>
                <c:pt idx="18">
                  <c:v>12045</c:v>
                </c:pt>
                <c:pt idx="19">
                  <c:v>12293</c:v>
                </c:pt>
                <c:pt idx="20">
                  <c:v>12455</c:v>
                </c:pt>
                <c:pt idx="21">
                  <c:v>13186</c:v>
                </c:pt>
                <c:pt idx="22">
                  <c:v>13820</c:v>
                </c:pt>
                <c:pt idx="23">
                  <c:v>14498</c:v>
                </c:pt>
                <c:pt idx="24">
                  <c:v>15129</c:v>
                </c:pt>
                <c:pt idx="25">
                  <c:v>15583</c:v>
                </c:pt>
                <c:pt idx="26">
                  <c:v>15693</c:v>
                </c:pt>
                <c:pt idx="27">
                  <c:v>15765</c:v>
                </c:pt>
                <c:pt idx="28">
                  <c:v>16089</c:v>
                </c:pt>
                <c:pt idx="29">
                  <c:v>16438</c:v>
                </c:pt>
                <c:pt idx="30">
                  <c:v>16796</c:v>
                </c:pt>
                <c:pt idx="31">
                  <c:v>17244</c:v>
                </c:pt>
                <c:pt idx="32">
                  <c:v>17952</c:v>
                </c:pt>
                <c:pt idx="33">
                  <c:v>18109</c:v>
                </c:pt>
                <c:pt idx="34">
                  <c:v>18378</c:v>
                </c:pt>
                <c:pt idx="35">
                  <c:v>19295</c:v>
                </c:pt>
                <c:pt idx="36">
                  <c:v>20816</c:v>
                </c:pt>
                <c:pt idx="37">
                  <c:v>22647</c:v>
                </c:pt>
                <c:pt idx="38">
                  <c:v>24618</c:v>
                </c:pt>
                <c:pt idx="39">
                  <c:v>26269</c:v>
                </c:pt>
                <c:pt idx="40">
                  <c:v>26534</c:v>
                </c:pt>
                <c:pt idx="41">
                  <c:v>26695</c:v>
                </c:pt>
                <c:pt idx="42">
                  <c:v>27595</c:v>
                </c:pt>
                <c:pt idx="43">
                  <c:v>28566</c:v>
                </c:pt>
                <c:pt idx="44">
                  <c:v>29643</c:v>
                </c:pt>
                <c:pt idx="45">
                  <c:v>30822</c:v>
                </c:pt>
                <c:pt idx="46">
                  <c:v>31628</c:v>
                </c:pt>
                <c:pt idx="47">
                  <c:v>31731</c:v>
                </c:pt>
                <c:pt idx="48">
                  <c:v>31788</c:v>
                </c:pt>
                <c:pt idx="49">
                  <c:v>32388</c:v>
                </c:pt>
                <c:pt idx="50">
                  <c:v>32866</c:v>
                </c:pt>
                <c:pt idx="51">
                  <c:v>33718</c:v>
                </c:pt>
                <c:pt idx="52">
                  <c:v>34705</c:v>
                </c:pt>
                <c:pt idx="53">
                  <c:v>35839</c:v>
                </c:pt>
                <c:pt idx="54">
                  <c:v>35997</c:v>
                </c:pt>
                <c:pt idx="55">
                  <c:v>36092</c:v>
                </c:pt>
                <c:pt idx="56">
                  <c:v>37105</c:v>
                </c:pt>
                <c:pt idx="57">
                  <c:v>38133</c:v>
                </c:pt>
                <c:pt idx="58">
                  <c:v>39583</c:v>
                </c:pt>
                <c:pt idx="59">
                  <c:v>41087</c:v>
                </c:pt>
                <c:pt idx="60">
                  <c:v>42988</c:v>
                </c:pt>
                <c:pt idx="61">
                  <c:v>43379</c:v>
                </c:pt>
                <c:pt idx="62">
                  <c:v>43871</c:v>
                </c:pt>
                <c:pt idx="63">
                  <c:v>46169</c:v>
                </c:pt>
                <c:pt idx="64">
                  <c:v>49582</c:v>
                </c:pt>
                <c:pt idx="65">
                  <c:v>52825</c:v>
                </c:pt>
                <c:pt idx="66">
                  <c:v>55511</c:v>
                </c:pt>
                <c:pt idx="67">
                  <c:v>57895</c:v>
                </c:pt>
                <c:pt idx="68">
                  <c:v>59069</c:v>
                </c:pt>
                <c:pt idx="69">
                  <c:v>60279</c:v>
                </c:pt>
                <c:pt idx="70">
                  <c:v>62831</c:v>
                </c:pt>
                <c:pt idx="71">
                  <c:v>65708</c:v>
                </c:pt>
                <c:pt idx="72">
                  <c:v>68227</c:v>
                </c:pt>
                <c:pt idx="73">
                  <c:v>71443</c:v>
                </c:pt>
                <c:pt idx="74">
                  <c:v>74594</c:v>
                </c:pt>
                <c:pt idx="75">
                  <c:v>75754</c:v>
                </c:pt>
                <c:pt idx="76">
                  <c:v>76796</c:v>
                </c:pt>
                <c:pt idx="77">
                  <c:v>79469</c:v>
                </c:pt>
                <c:pt idx="78">
                  <c:v>82449</c:v>
                </c:pt>
                <c:pt idx="79">
                  <c:v>85314</c:v>
                </c:pt>
                <c:pt idx="80">
                  <c:v>87891</c:v>
                </c:pt>
                <c:pt idx="81">
                  <c:v>91021</c:v>
                </c:pt>
                <c:pt idx="82">
                  <c:v>92130</c:v>
                </c:pt>
                <c:pt idx="83">
                  <c:v>92896</c:v>
                </c:pt>
                <c:pt idx="84">
                  <c:v>95224</c:v>
                </c:pt>
                <c:pt idx="85">
                  <c:v>97767</c:v>
                </c:pt>
                <c:pt idx="86">
                  <c:v>100995</c:v>
                </c:pt>
                <c:pt idx="87">
                  <c:v>104087</c:v>
                </c:pt>
                <c:pt idx="88">
                  <c:v>107436</c:v>
                </c:pt>
                <c:pt idx="89">
                  <c:v>108308</c:v>
                </c:pt>
                <c:pt idx="90">
                  <c:v>108890</c:v>
                </c:pt>
                <c:pt idx="91">
                  <c:v>111657</c:v>
                </c:pt>
                <c:pt idx="92">
                  <c:v>115002</c:v>
                </c:pt>
                <c:pt idx="93">
                  <c:v>118415</c:v>
                </c:pt>
                <c:pt idx="94">
                  <c:v>123133</c:v>
                </c:pt>
                <c:pt idx="95">
                  <c:v>124885</c:v>
                </c:pt>
                <c:pt idx="96">
                  <c:v>126709</c:v>
                </c:pt>
                <c:pt idx="97">
                  <c:v>127901</c:v>
                </c:pt>
                <c:pt idx="98">
                  <c:v>129329</c:v>
                </c:pt>
                <c:pt idx="99">
                  <c:v>133628</c:v>
                </c:pt>
                <c:pt idx="100">
                  <c:v>136541</c:v>
                </c:pt>
                <c:pt idx="101">
                  <c:v>141569</c:v>
                </c:pt>
                <c:pt idx="102">
                  <c:v>148446</c:v>
                </c:pt>
                <c:pt idx="103">
                  <c:v>151016</c:v>
                </c:pt>
                <c:pt idx="104">
                  <c:v>152507</c:v>
                </c:pt>
                <c:pt idx="105">
                  <c:v>156752</c:v>
                </c:pt>
                <c:pt idx="106">
                  <c:v>161123</c:v>
                </c:pt>
                <c:pt idx="107">
                  <c:v>165265</c:v>
                </c:pt>
                <c:pt idx="108">
                  <c:v>170442</c:v>
                </c:pt>
                <c:pt idx="109">
                  <c:v>176137</c:v>
                </c:pt>
                <c:pt idx="110">
                  <c:v>179778</c:v>
                </c:pt>
                <c:pt idx="111">
                  <c:v>181467</c:v>
                </c:pt>
                <c:pt idx="112">
                  <c:v>186957</c:v>
                </c:pt>
                <c:pt idx="113">
                  <c:v>191206</c:v>
                </c:pt>
                <c:pt idx="114">
                  <c:v>195649</c:v>
                </c:pt>
                <c:pt idx="115">
                  <c:v>201720</c:v>
                </c:pt>
                <c:pt idx="116">
                  <c:v>208877</c:v>
                </c:pt>
                <c:pt idx="117">
                  <c:v>212266</c:v>
                </c:pt>
                <c:pt idx="118">
                  <c:v>215862</c:v>
                </c:pt>
                <c:pt idx="119">
                  <c:v>225259</c:v>
                </c:pt>
                <c:pt idx="120">
                  <c:v>2382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3BA-4B78-8658-BD29E9C67F23}"/>
            </c:ext>
          </c:extLst>
        </c:ser>
        <c:ser>
          <c:idx val="6"/>
          <c:order val="6"/>
          <c:tx>
            <c:strRef>
              <c:f>List1!$A$8</c:f>
              <c:strCache>
                <c:ptCount val="1"/>
                <c:pt idx="0">
                  <c:v>Pracovníci a klienti v sociálních službách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C$1:$DS$1</c:f>
              <c:strCache>
                <c:ptCount val="121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</c:strCache>
            </c:strRef>
          </c:cat>
          <c:val>
            <c:numRef>
              <c:f>List1!$C$8:$DS$8</c:f>
              <c:numCache>
                <c:formatCode>General</c:formatCode>
                <c:ptCount val="121"/>
                <c:pt idx="0">
                  <c:v>86</c:v>
                </c:pt>
                <c:pt idx="1">
                  <c:v>396</c:v>
                </c:pt>
                <c:pt idx="2">
                  <c:v>687</c:v>
                </c:pt>
                <c:pt idx="3">
                  <c:v>882</c:v>
                </c:pt>
                <c:pt idx="4">
                  <c:v>886</c:v>
                </c:pt>
                <c:pt idx="5">
                  <c:v>886</c:v>
                </c:pt>
                <c:pt idx="6">
                  <c:v>888</c:v>
                </c:pt>
                <c:pt idx="7">
                  <c:v>891</c:v>
                </c:pt>
                <c:pt idx="8">
                  <c:v>903</c:v>
                </c:pt>
                <c:pt idx="9">
                  <c:v>958</c:v>
                </c:pt>
                <c:pt idx="10">
                  <c:v>1574</c:v>
                </c:pt>
                <c:pt idx="11">
                  <c:v>3163</c:v>
                </c:pt>
                <c:pt idx="12">
                  <c:v>3467</c:v>
                </c:pt>
                <c:pt idx="13">
                  <c:v>3545</c:v>
                </c:pt>
                <c:pt idx="14">
                  <c:v>4461</c:v>
                </c:pt>
                <c:pt idx="15">
                  <c:v>6403</c:v>
                </c:pt>
                <c:pt idx="16">
                  <c:v>9272</c:v>
                </c:pt>
                <c:pt idx="17">
                  <c:v>13290</c:v>
                </c:pt>
                <c:pt idx="18">
                  <c:v>17134</c:v>
                </c:pt>
                <c:pt idx="19">
                  <c:v>17750</c:v>
                </c:pt>
                <c:pt idx="20">
                  <c:v>17992</c:v>
                </c:pt>
                <c:pt idx="21">
                  <c:v>20658</c:v>
                </c:pt>
                <c:pt idx="22">
                  <c:v>24181</c:v>
                </c:pt>
                <c:pt idx="23">
                  <c:v>28106</c:v>
                </c:pt>
                <c:pt idx="24">
                  <c:v>31895</c:v>
                </c:pt>
                <c:pt idx="25">
                  <c:v>34975</c:v>
                </c:pt>
                <c:pt idx="26">
                  <c:v>35584</c:v>
                </c:pt>
                <c:pt idx="27">
                  <c:v>35710</c:v>
                </c:pt>
                <c:pt idx="28">
                  <c:v>37631</c:v>
                </c:pt>
                <c:pt idx="29">
                  <c:v>40286</c:v>
                </c:pt>
                <c:pt idx="30">
                  <c:v>42660</c:v>
                </c:pt>
                <c:pt idx="31">
                  <c:v>44456</c:v>
                </c:pt>
                <c:pt idx="32">
                  <c:v>46300</c:v>
                </c:pt>
                <c:pt idx="33">
                  <c:v>46479</c:v>
                </c:pt>
                <c:pt idx="34">
                  <c:v>46542</c:v>
                </c:pt>
                <c:pt idx="35">
                  <c:v>47830</c:v>
                </c:pt>
                <c:pt idx="36">
                  <c:v>49497</c:v>
                </c:pt>
                <c:pt idx="37">
                  <c:v>51687</c:v>
                </c:pt>
                <c:pt idx="38">
                  <c:v>55042</c:v>
                </c:pt>
                <c:pt idx="39">
                  <c:v>58017</c:v>
                </c:pt>
                <c:pt idx="40">
                  <c:v>58059</c:v>
                </c:pt>
                <c:pt idx="41">
                  <c:v>58236</c:v>
                </c:pt>
                <c:pt idx="42">
                  <c:v>60967</c:v>
                </c:pt>
                <c:pt idx="43">
                  <c:v>64737</c:v>
                </c:pt>
                <c:pt idx="44">
                  <c:v>69546</c:v>
                </c:pt>
                <c:pt idx="45">
                  <c:v>74984</c:v>
                </c:pt>
                <c:pt idx="46">
                  <c:v>80002</c:v>
                </c:pt>
                <c:pt idx="47">
                  <c:v>80715</c:v>
                </c:pt>
                <c:pt idx="48">
                  <c:v>80848</c:v>
                </c:pt>
                <c:pt idx="49">
                  <c:v>83166</c:v>
                </c:pt>
                <c:pt idx="50">
                  <c:v>87360</c:v>
                </c:pt>
                <c:pt idx="51">
                  <c:v>91987</c:v>
                </c:pt>
                <c:pt idx="52">
                  <c:v>96560</c:v>
                </c:pt>
                <c:pt idx="53">
                  <c:v>100208</c:v>
                </c:pt>
                <c:pt idx="54">
                  <c:v>100370</c:v>
                </c:pt>
                <c:pt idx="55">
                  <c:v>100373</c:v>
                </c:pt>
                <c:pt idx="56">
                  <c:v>102868</c:v>
                </c:pt>
                <c:pt idx="57">
                  <c:v>105818</c:v>
                </c:pt>
                <c:pt idx="58">
                  <c:v>109124</c:v>
                </c:pt>
                <c:pt idx="59">
                  <c:v>113371</c:v>
                </c:pt>
                <c:pt idx="60">
                  <c:v>116853</c:v>
                </c:pt>
                <c:pt idx="61">
                  <c:v>117022</c:v>
                </c:pt>
                <c:pt idx="62">
                  <c:v>117127</c:v>
                </c:pt>
                <c:pt idx="63">
                  <c:v>118811</c:v>
                </c:pt>
                <c:pt idx="64">
                  <c:v>120923</c:v>
                </c:pt>
                <c:pt idx="65">
                  <c:v>124054</c:v>
                </c:pt>
                <c:pt idx="66">
                  <c:v>126964</c:v>
                </c:pt>
                <c:pt idx="67">
                  <c:v>129982</c:v>
                </c:pt>
                <c:pt idx="68">
                  <c:v>130404</c:v>
                </c:pt>
                <c:pt idx="69">
                  <c:v>130705</c:v>
                </c:pt>
                <c:pt idx="70">
                  <c:v>131892</c:v>
                </c:pt>
                <c:pt idx="71">
                  <c:v>134366</c:v>
                </c:pt>
                <c:pt idx="72">
                  <c:v>137677</c:v>
                </c:pt>
                <c:pt idx="73">
                  <c:v>141450</c:v>
                </c:pt>
                <c:pt idx="74">
                  <c:v>144591</c:v>
                </c:pt>
                <c:pt idx="75">
                  <c:v>145003</c:v>
                </c:pt>
                <c:pt idx="76">
                  <c:v>145113</c:v>
                </c:pt>
                <c:pt idx="77">
                  <c:v>147436</c:v>
                </c:pt>
                <c:pt idx="78">
                  <c:v>150504</c:v>
                </c:pt>
                <c:pt idx="79">
                  <c:v>152976</c:v>
                </c:pt>
                <c:pt idx="80">
                  <c:v>155649</c:v>
                </c:pt>
                <c:pt idx="81">
                  <c:v>158552</c:v>
                </c:pt>
                <c:pt idx="82">
                  <c:v>158608</c:v>
                </c:pt>
                <c:pt idx="83">
                  <c:v>158624</c:v>
                </c:pt>
                <c:pt idx="84">
                  <c:v>159676</c:v>
                </c:pt>
                <c:pt idx="85">
                  <c:v>161253</c:v>
                </c:pt>
                <c:pt idx="86">
                  <c:v>163499</c:v>
                </c:pt>
                <c:pt idx="87">
                  <c:v>165687</c:v>
                </c:pt>
                <c:pt idx="88">
                  <c:v>168278</c:v>
                </c:pt>
                <c:pt idx="89">
                  <c:v>168492</c:v>
                </c:pt>
                <c:pt idx="90">
                  <c:v>168658</c:v>
                </c:pt>
                <c:pt idx="91">
                  <c:v>169625</c:v>
                </c:pt>
                <c:pt idx="92">
                  <c:v>171081</c:v>
                </c:pt>
                <c:pt idx="93">
                  <c:v>173296</c:v>
                </c:pt>
                <c:pt idx="94">
                  <c:v>175688</c:v>
                </c:pt>
                <c:pt idx="95">
                  <c:v>175955</c:v>
                </c:pt>
                <c:pt idx="96">
                  <c:v>176105</c:v>
                </c:pt>
                <c:pt idx="97">
                  <c:v>176150</c:v>
                </c:pt>
                <c:pt idx="98">
                  <c:v>176182</c:v>
                </c:pt>
                <c:pt idx="99">
                  <c:v>177901</c:v>
                </c:pt>
                <c:pt idx="100">
                  <c:v>179635</c:v>
                </c:pt>
                <c:pt idx="101">
                  <c:v>182214</c:v>
                </c:pt>
                <c:pt idx="102">
                  <c:v>183939</c:v>
                </c:pt>
                <c:pt idx="103">
                  <c:v>184043</c:v>
                </c:pt>
                <c:pt idx="104">
                  <c:v>184155</c:v>
                </c:pt>
                <c:pt idx="105">
                  <c:v>185012</c:v>
                </c:pt>
                <c:pt idx="106">
                  <c:v>186655</c:v>
                </c:pt>
                <c:pt idx="107">
                  <c:v>188059</c:v>
                </c:pt>
                <c:pt idx="108">
                  <c:v>190145</c:v>
                </c:pt>
                <c:pt idx="109">
                  <c:v>193322</c:v>
                </c:pt>
                <c:pt idx="110">
                  <c:v>193683</c:v>
                </c:pt>
                <c:pt idx="111">
                  <c:v>193919</c:v>
                </c:pt>
                <c:pt idx="112">
                  <c:v>195296</c:v>
                </c:pt>
                <c:pt idx="113">
                  <c:v>196656</c:v>
                </c:pt>
                <c:pt idx="114">
                  <c:v>198305</c:v>
                </c:pt>
                <c:pt idx="115">
                  <c:v>200520</c:v>
                </c:pt>
                <c:pt idx="116">
                  <c:v>202448</c:v>
                </c:pt>
                <c:pt idx="117">
                  <c:v>202839</c:v>
                </c:pt>
                <c:pt idx="118">
                  <c:v>203486</c:v>
                </c:pt>
                <c:pt idx="119">
                  <c:v>204349</c:v>
                </c:pt>
                <c:pt idx="120">
                  <c:v>2052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231-4689-8D01-AE220FE5DCEE}"/>
            </c:ext>
          </c:extLst>
        </c:ser>
        <c:ser>
          <c:idx val="7"/>
          <c:order val="7"/>
          <c:tx>
            <c:strRef>
              <c:f>List1!$A$9</c:f>
              <c:strCache>
                <c:ptCount val="1"/>
                <c:pt idx="0">
                  <c:v>Chronicky nemocní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List1!$C$1:$DS$1</c:f>
              <c:strCache>
                <c:ptCount val="121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</c:strCache>
            </c:strRef>
          </c:cat>
          <c:val>
            <c:numRef>
              <c:f>List1!$C$9:$DS$9</c:f>
              <c:numCache>
                <c:formatCode>General</c:formatCode>
                <c:ptCount val="1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8</c:v>
                </c:pt>
                <c:pt idx="19">
                  <c:v>8</c:v>
                </c:pt>
                <c:pt idx="20">
                  <c:v>8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2</c:v>
                </c:pt>
                <c:pt idx="25">
                  <c:v>12</c:v>
                </c:pt>
                <c:pt idx="26">
                  <c:v>12</c:v>
                </c:pt>
                <c:pt idx="27">
                  <c:v>12</c:v>
                </c:pt>
                <c:pt idx="28">
                  <c:v>12</c:v>
                </c:pt>
                <c:pt idx="29">
                  <c:v>12</c:v>
                </c:pt>
                <c:pt idx="30">
                  <c:v>12</c:v>
                </c:pt>
                <c:pt idx="31">
                  <c:v>13</c:v>
                </c:pt>
                <c:pt idx="32">
                  <c:v>14</c:v>
                </c:pt>
                <c:pt idx="33">
                  <c:v>14</c:v>
                </c:pt>
                <c:pt idx="34">
                  <c:v>14</c:v>
                </c:pt>
                <c:pt idx="35">
                  <c:v>14</c:v>
                </c:pt>
                <c:pt idx="36">
                  <c:v>14</c:v>
                </c:pt>
                <c:pt idx="37">
                  <c:v>14</c:v>
                </c:pt>
                <c:pt idx="38">
                  <c:v>14</c:v>
                </c:pt>
                <c:pt idx="39">
                  <c:v>16</c:v>
                </c:pt>
                <c:pt idx="40">
                  <c:v>16</c:v>
                </c:pt>
                <c:pt idx="41">
                  <c:v>16</c:v>
                </c:pt>
                <c:pt idx="42">
                  <c:v>17</c:v>
                </c:pt>
                <c:pt idx="43">
                  <c:v>18</c:v>
                </c:pt>
                <c:pt idx="44">
                  <c:v>18</c:v>
                </c:pt>
                <c:pt idx="45">
                  <c:v>19</c:v>
                </c:pt>
                <c:pt idx="46">
                  <c:v>20</c:v>
                </c:pt>
                <c:pt idx="47">
                  <c:v>20</c:v>
                </c:pt>
                <c:pt idx="48">
                  <c:v>21</c:v>
                </c:pt>
                <c:pt idx="49">
                  <c:v>23</c:v>
                </c:pt>
                <c:pt idx="50">
                  <c:v>24</c:v>
                </c:pt>
                <c:pt idx="51">
                  <c:v>24</c:v>
                </c:pt>
                <c:pt idx="52">
                  <c:v>28</c:v>
                </c:pt>
                <c:pt idx="53">
                  <c:v>38</c:v>
                </c:pt>
                <c:pt idx="54">
                  <c:v>38</c:v>
                </c:pt>
                <c:pt idx="55">
                  <c:v>38</c:v>
                </c:pt>
                <c:pt idx="56">
                  <c:v>45</c:v>
                </c:pt>
                <c:pt idx="57">
                  <c:v>48</c:v>
                </c:pt>
                <c:pt idx="58">
                  <c:v>53</c:v>
                </c:pt>
                <c:pt idx="59">
                  <c:v>63</c:v>
                </c:pt>
                <c:pt idx="60">
                  <c:v>83</c:v>
                </c:pt>
                <c:pt idx="61">
                  <c:v>88</c:v>
                </c:pt>
                <c:pt idx="62">
                  <c:v>88</c:v>
                </c:pt>
                <c:pt idx="63">
                  <c:v>111</c:v>
                </c:pt>
                <c:pt idx="64">
                  <c:v>137</c:v>
                </c:pt>
                <c:pt idx="65">
                  <c:v>265</c:v>
                </c:pt>
                <c:pt idx="66">
                  <c:v>509</c:v>
                </c:pt>
                <c:pt idx="67">
                  <c:v>726</c:v>
                </c:pt>
                <c:pt idx="68">
                  <c:v>1012</c:v>
                </c:pt>
                <c:pt idx="69">
                  <c:v>1341</c:v>
                </c:pt>
                <c:pt idx="70">
                  <c:v>1598</c:v>
                </c:pt>
                <c:pt idx="71">
                  <c:v>2030</c:v>
                </c:pt>
                <c:pt idx="72">
                  <c:v>2476</c:v>
                </c:pt>
                <c:pt idx="73">
                  <c:v>3094</c:v>
                </c:pt>
                <c:pt idx="74">
                  <c:v>3810</c:v>
                </c:pt>
                <c:pt idx="75">
                  <c:v>4038</c:v>
                </c:pt>
                <c:pt idx="76">
                  <c:v>4118</c:v>
                </c:pt>
                <c:pt idx="77">
                  <c:v>4749</c:v>
                </c:pt>
                <c:pt idx="78">
                  <c:v>5545</c:v>
                </c:pt>
                <c:pt idx="79">
                  <c:v>6383</c:v>
                </c:pt>
                <c:pt idx="80">
                  <c:v>7329</c:v>
                </c:pt>
                <c:pt idx="81">
                  <c:v>8449</c:v>
                </c:pt>
                <c:pt idx="82">
                  <c:v>8768</c:v>
                </c:pt>
                <c:pt idx="83">
                  <c:v>8832</c:v>
                </c:pt>
                <c:pt idx="84">
                  <c:v>9712</c:v>
                </c:pt>
                <c:pt idx="85">
                  <c:v>10777</c:v>
                </c:pt>
                <c:pt idx="86">
                  <c:v>12149</c:v>
                </c:pt>
                <c:pt idx="87">
                  <c:v>13601</c:v>
                </c:pt>
                <c:pt idx="88">
                  <c:v>15199</c:v>
                </c:pt>
                <c:pt idx="89">
                  <c:v>15527</c:v>
                </c:pt>
                <c:pt idx="90">
                  <c:v>16138</c:v>
                </c:pt>
                <c:pt idx="91">
                  <c:v>17671</c:v>
                </c:pt>
                <c:pt idx="92">
                  <c:v>19475</c:v>
                </c:pt>
                <c:pt idx="93">
                  <c:v>21573</c:v>
                </c:pt>
                <c:pt idx="94">
                  <c:v>23835</c:v>
                </c:pt>
                <c:pt idx="95">
                  <c:v>24359</c:v>
                </c:pt>
                <c:pt idx="96">
                  <c:v>24617</c:v>
                </c:pt>
                <c:pt idx="97">
                  <c:v>24752</c:v>
                </c:pt>
                <c:pt idx="98">
                  <c:v>24884</c:v>
                </c:pt>
                <c:pt idx="99">
                  <c:v>26294</c:v>
                </c:pt>
                <c:pt idx="100">
                  <c:v>28388</c:v>
                </c:pt>
                <c:pt idx="101">
                  <c:v>31705</c:v>
                </c:pt>
                <c:pt idx="102">
                  <c:v>35464</c:v>
                </c:pt>
                <c:pt idx="103">
                  <c:v>36944</c:v>
                </c:pt>
                <c:pt idx="104">
                  <c:v>37690</c:v>
                </c:pt>
                <c:pt idx="105">
                  <c:v>42205</c:v>
                </c:pt>
                <c:pt idx="106">
                  <c:v>46768</c:v>
                </c:pt>
                <c:pt idx="107">
                  <c:v>51909</c:v>
                </c:pt>
                <c:pt idx="108">
                  <c:v>58837</c:v>
                </c:pt>
                <c:pt idx="109">
                  <c:v>66101</c:v>
                </c:pt>
                <c:pt idx="110">
                  <c:v>67883</c:v>
                </c:pt>
                <c:pt idx="111">
                  <c:v>69060</c:v>
                </c:pt>
                <c:pt idx="112">
                  <c:v>76162</c:v>
                </c:pt>
                <c:pt idx="113">
                  <c:v>83270</c:v>
                </c:pt>
                <c:pt idx="114">
                  <c:v>91656</c:v>
                </c:pt>
                <c:pt idx="115">
                  <c:v>100854</c:v>
                </c:pt>
                <c:pt idx="116">
                  <c:v>109250</c:v>
                </c:pt>
                <c:pt idx="117">
                  <c:v>111844</c:v>
                </c:pt>
                <c:pt idx="118">
                  <c:v>113907</c:v>
                </c:pt>
                <c:pt idx="119">
                  <c:v>120090</c:v>
                </c:pt>
                <c:pt idx="120">
                  <c:v>1253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5EC-49F1-A7E9-EC500512EC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2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5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863383134136261"/>
          <c:y val="5.0329917157668526E-2"/>
          <c:w val="0.27136616865863727"/>
          <c:h val="0.8002797786861228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9B4-4B82-8A69-E8EE655F407B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Jihomoravský kraj</c:v>
                </c:pt>
                <c:pt idx="1">
                  <c:v>Středočeský kraj</c:v>
                </c:pt>
                <c:pt idx="2">
                  <c:v>Plzeňský kraj</c:v>
                </c:pt>
                <c:pt idx="3">
                  <c:v>Zlínský kraj</c:v>
                </c:pt>
                <c:pt idx="4">
                  <c:v>Olomoucký kraj</c:v>
                </c:pt>
                <c:pt idx="5">
                  <c:v>Jihočeský kraj</c:v>
                </c:pt>
                <c:pt idx="6">
                  <c:v>ČR</c:v>
                </c:pt>
                <c:pt idx="7">
                  <c:v>Královéhradecký kraj</c:v>
                </c:pt>
                <c:pt idx="8">
                  <c:v>Moravskoslezský kraj</c:v>
                </c:pt>
                <c:pt idx="9">
                  <c:v>Hlavní město Praha</c:v>
                </c:pt>
                <c:pt idx="10">
                  <c:v>Liberecký kraj</c:v>
                </c:pt>
                <c:pt idx="11">
                  <c:v>Kraj Vysočina</c:v>
                </c:pt>
                <c:pt idx="12">
                  <c:v>Ústecký kraj</c:v>
                </c:pt>
                <c:pt idx="13">
                  <c:v>Pardubi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92829827915800001</c:v>
                </c:pt>
                <c:pt idx="1">
                  <c:v>0.91898370086199999</c:v>
                </c:pt>
                <c:pt idx="2">
                  <c:v>0.91896024464799997</c:v>
                </c:pt>
                <c:pt idx="3">
                  <c:v>0.91124620060700001</c:v>
                </c:pt>
                <c:pt idx="4">
                  <c:v>0.90036900368999995</c:v>
                </c:pt>
                <c:pt idx="5">
                  <c:v>0.89342693043999999</c:v>
                </c:pt>
                <c:pt idx="6">
                  <c:v>0.87972146022300002</c:v>
                </c:pt>
                <c:pt idx="7">
                  <c:v>0.87955182072799998</c:v>
                </c:pt>
                <c:pt idx="8">
                  <c:v>0.87329591018399999</c:v>
                </c:pt>
                <c:pt idx="9">
                  <c:v>0.860986547085</c:v>
                </c:pt>
                <c:pt idx="10">
                  <c:v>0.84929577464700001</c:v>
                </c:pt>
                <c:pt idx="11">
                  <c:v>0.84681583476699995</c:v>
                </c:pt>
                <c:pt idx="12">
                  <c:v>0.83288409703499999</c:v>
                </c:pt>
                <c:pt idx="13">
                  <c:v>0.79438314944800004</c:v>
                </c:pt>
                <c:pt idx="14">
                  <c:v>0.70238095237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338613455438066E-2"/>
          <c:y val="2.9263177408738655E-2"/>
          <c:w val="0.67175538477131103"/>
          <c:h val="0.8537042085080645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4.2679751582317191E-4"/>
                  <c:y val="-4.662556641343844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70C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11220385068377"/>
                      <c:h val="4.18791204655948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21.12.20</c:v>
                </c:pt>
                <c:pt idx="1">
                  <c:v>22.12.20</c:v>
                </c:pt>
                <c:pt idx="2">
                  <c:v>23.12.20</c:v>
                </c:pt>
                <c:pt idx="3">
                  <c:v>24.12.20</c:v>
                </c:pt>
                <c:pt idx="4">
                  <c:v>25.12.20</c:v>
                </c:pt>
                <c:pt idx="5">
                  <c:v>26.12.20</c:v>
                </c:pt>
                <c:pt idx="6">
                  <c:v>27.12.20</c:v>
                </c:pt>
                <c:pt idx="7">
                  <c:v>28.12.20</c:v>
                </c:pt>
                <c:pt idx="8">
                  <c:v>29.12.20</c:v>
                </c:pt>
                <c:pt idx="9">
                  <c:v>30.12.20</c:v>
                </c:pt>
                <c:pt idx="10">
                  <c:v>31.12.20</c:v>
                </c:pt>
                <c:pt idx="11">
                  <c:v>01.01.21</c:v>
                </c:pt>
                <c:pt idx="12">
                  <c:v>02.01.21</c:v>
                </c:pt>
                <c:pt idx="13">
                  <c:v>03.01.21</c:v>
                </c:pt>
                <c:pt idx="14">
                  <c:v>04.01.21</c:v>
                </c:pt>
                <c:pt idx="15">
                  <c:v>05.01.21</c:v>
                </c:pt>
                <c:pt idx="16">
                  <c:v>06.01.21</c:v>
                </c:pt>
                <c:pt idx="17">
                  <c:v>07.01.21</c:v>
                </c:pt>
                <c:pt idx="18">
                  <c:v>08.01.21</c:v>
                </c:pt>
                <c:pt idx="19">
                  <c:v>09.01.21</c:v>
                </c:pt>
                <c:pt idx="20">
                  <c:v>10.01.21</c:v>
                </c:pt>
                <c:pt idx="21">
                  <c:v>11.01.21</c:v>
                </c:pt>
                <c:pt idx="22">
                  <c:v>12.01.21</c:v>
                </c:pt>
                <c:pt idx="23">
                  <c:v>13.01.21</c:v>
                </c:pt>
                <c:pt idx="24">
                  <c:v>14.01.21</c:v>
                </c:pt>
                <c:pt idx="25">
                  <c:v>15.01.21</c:v>
                </c:pt>
                <c:pt idx="26">
                  <c:v>16.01.21</c:v>
                </c:pt>
                <c:pt idx="27">
                  <c:v>17.01.21</c:v>
                </c:pt>
                <c:pt idx="28">
                  <c:v>18.01.21</c:v>
                </c:pt>
                <c:pt idx="29">
                  <c:v>19.01.21</c:v>
                </c:pt>
                <c:pt idx="30">
                  <c:v>20.01.21</c:v>
                </c:pt>
                <c:pt idx="31">
                  <c:v>21.01.21</c:v>
                </c:pt>
                <c:pt idx="32">
                  <c:v>22.01.21</c:v>
                </c:pt>
                <c:pt idx="33">
                  <c:v>23.01.21</c:v>
                </c:pt>
                <c:pt idx="34">
                  <c:v>24.01.21</c:v>
                </c:pt>
                <c:pt idx="35">
                  <c:v>25.01.21</c:v>
                </c:pt>
                <c:pt idx="36">
                  <c:v>26.01.21</c:v>
                </c:pt>
                <c:pt idx="37">
                  <c:v>27.01.21</c:v>
                </c:pt>
                <c:pt idx="38">
                  <c:v>28.01.21</c:v>
                </c:pt>
                <c:pt idx="39">
                  <c:v>29.01.21</c:v>
                </c:pt>
                <c:pt idx="40">
                  <c:v>30.01.21</c:v>
                </c:pt>
                <c:pt idx="41">
                  <c:v>31.01.21</c:v>
                </c:pt>
                <c:pt idx="42">
                  <c:v>01.02.21</c:v>
                </c:pt>
                <c:pt idx="43">
                  <c:v>02.02.21</c:v>
                </c:pt>
                <c:pt idx="44">
                  <c:v>03.02.21</c:v>
                </c:pt>
                <c:pt idx="45">
                  <c:v>04.02.21</c:v>
                </c:pt>
                <c:pt idx="46">
                  <c:v>05.02.21</c:v>
                </c:pt>
                <c:pt idx="47">
                  <c:v>06.02.21</c:v>
                </c:pt>
                <c:pt idx="48">
                  <c:v>07.02.21</c:v>
                </c:pt>
                <c:pt idx="49">
                  <c:v>08.02.21</c:v>
                </c:pt>
                <c:pt idx="50">
                  <c:v>09.02.21</c:v>
                </c:pt>
                <c:pt idx="51">
                  <c:v>10.02.21</c:v>
                </c:pt>
                <c:pt idx="52">
                  <c:v>11.02.21</c:v>
                </c:pt>
                <c:pt idx="53">
                  <c:v>12.02.21</c:v>
                </c:pt>
                <c:pt idx="54">
                  <c:v>13.02.21</c:v>
                </c:pt>
                <c:pt idx="55">
                  <c:v>14.02.21</c:v>
                </c:pt>
                <c:pt idx="56">
                  <c:v>15.02.21</c:v>
                </c:pt>
                <c:pt idx="57">
                  <c:v>16.02.21</c:v>
                </c:pt>
                <c:pt idx="58">
                  <c:v>17.02.21</c:v>
                </c:pt>
                <c:pt idx="59">
                  <c:v>18.02.21</c:v>
                </c:pt>
                <c:pt idx="60">
                  <c:v>19.02.21</c:v>
                </c:pt>
                <c:pt idx="61">
                  <c:v>20.02.21</c:v>
                </c:pt>
                <c:pt idx="62">
                  <c:v>21.02.21</c:v>
                </c:pt>
                <c:pt idx="63">
                  <c:v>22.02.21</c:v>
                </c:pt>
                <c:pt idx="64">
                  <c:v>23.02.21</c:v>
                </c:pt>
                <c:pt idx="65">
                  <c:v>24.02.21</c:v>
                </c:pt>
                <c:pt idx="66">
                  <c:v>25.02.21</c:v>
                </c:pt>
                <c:pt idx="67">
                  <c:v>26.02.21</c:v>
                </c:pt>
                <c:pt idx="68">
                  <c:v>27.02.21</c:v>
                </c:pt>
                <c:pt idx="69">
                  <c:v>28.02.21</c:v>
                </c:pt>
                <c:pt idx="70">
                  <c:v>01.03.21</c:v>
                </c:pt>
                <c:pt idx="71">
                  <c:v>02.03.21</c:v>
                </c:pt>
                <c:pt idx="72">
                  <c:v>03.03.21</c:v>
                </c:pt>
                <c:pt idx="73">
                  <c:v>04.03.21</c:v>
                </c:pt>
                <c:pt idx="74">
                  <c:v>05.03.21</c:v>
                </c:pt>
                <c:pt idx="75">
                  <c:v>06.03.21</c:v>
                </c:pt>
                <c:pt idx="76">
                  <c:v>07.03.21</c:v>
                </c:pt>
                <c:pt idx="77">
                  <c:v>08.03.21</c:v>
                </c:pt>
                <c:pt idx="78">
                  <c:v>09.03.21</c:v>
                </c:pt>
                <c:pt idx="79">
                  <c:v>10.03.21</c:v>
                </c:pt>
                <c:pt idx="80">
                  <c:v>11.03.21</c:v>
                </c:pt>
                <c:pt idx="81">
                  <c:v>12.03.21</c:v>
                </c:pt>
                <c:pt idx="82">
                  <c:v>13.03.21</c:v>
                </c:pt>
                <c:pt idx="83">
                  <c:v>14.03.21</c:v>
                </c:pt>
                <c:pt idx="84">
                  <c:v>15.03.21</c:v>
                </c:pt>
                <c:pt idx="85">
                  <c:v>16.03.21</c:v>
                </c:pt>
                <c:pt idx="86">
                  <c:v>17.03.21</c:v>
                </c:pt>
                <c:pt idx="87">
                  <c:v>18.03.21</c:v>
                </c:pt>
                <c:pt idx="88">
                  <c:v>19.03.21</c:v>
                </c:pt>
                <c:pt idx="89">
                  <c:v>20.03.21</c:v>
                </c:pt>
                <c:pt idx="90">
                  <c:v>21.03.21</c:v>
                </c:pt>
                <c:pt idx="91">
                  <c:v>22.03.21</c:v>
                </c:pt>
                <c:pt idx="92">
                  <c:v>23.03.21</c:v>
                </c:pt>
                <c:pt idx="93">
                  <c:v>24.03.21</c:v>
                </c:pt>
                <c:pt idx="94">
                  <c:v>25.03.21</c:v>
                </c:pt>
                <c:pt idx="95">
                  <c:v>26.03.21</c:v>
                </c:pt>
                <c:pt idx="96">
                  <c:v>27.03.21</c:v>
                </c:pt>
                <c:pt idx="97">
                  <c:v>28.03.21</c:v>
                </c:pt>
                <c:pt idx="98">
                  <c:v>29.03.21</c:v>
                </c:pt>
                <c:pt idx="99">
                  <c:v>30.03.21</c:v>
                </c:pt>
                <c:pt idx="100">
                  <c:v>31.03.21</c:v>
                </c:pt>
                <c:pt idx="101">
                  <c:v>01.04.21</c:v>
                </c:pt>
                <c:pt idx="102">
                  <c:v>02.04.21</c:v>
                </c:pt>
                <c:pt idx="103">
                  <c:v>03.04.21</c:v>
                </c:pt>
                <c:pt idx="104">
                  <c:v>04.04.21</c:v>
                </c:pt>
                <c:pt idx="105">
                  <c:v>05.04.21</c:v>
                </c:pt>
                <c:pt idx="106">
                  <c:v>06.04.21</c:v>
                </c:pt>
                <c:pt idx="107">
                  <c:v>07.04.21</c:v>
                </c:pt>
                <c:pt idx="108">
                  <c:v>08.04.21</c:v>
                </c:pt>
                <c:pt idx="109">
                  <c:v>09.04.21</c:v>
                </c:pt>
                <c:pt idx="110">
                  <c:v>10.04.21</c:v>
                </c:pt>
                <c:pt idx="111">
                  <c:v>11.04.21</c:v>
                </c:pt>
                <c:pt idx="112">
                  <c:v>12.04.21</c:v>
                </c:pt>
                <c:pt idx="113">
                  <c:v>13.04.21</c:v>
                </c:pt>
                <c:pt idx="114">
                  <c:v>14.04.21</c:v>
                </c:pt>
                <c:pt idx="115">
                  <c:v>15.04.21</c:v>
                </c:pt>
                <c:pt idx="116">
                  <c:v>16.04.21</c:v>
                </c:pt>
                <c:pt idx="117">
                  <c:v>17.04.21</c:v>
                </c:pt>
                <c:pt idx="118">
                  <c:v>18.04.21</c:v>
                </c:pt>
                <c:pt idx="119">
                  <c:v>19.04.21</c:v>
                </c:pt>
                <c:pt idx="120">
                  <c:v>20.04.21</c:v>
                </c:pt>
                <c:pt idx="121">
                  <c:v>21.04.21</c:v>
                </c:pt>
                <c:pt idx="122">
                  <c:v>22.04.21</c:v>
                </c:pt>
                <c:pt idx="123">
                  <c:v>23.04.21</c:v>
                </c:pt>
                <c:pt idx="124">
                  <c:v>24.04.21</c:v>
                </c:pt>
                <c:pt idx="125">
                  <c:v>25.04.21</c:v>
                </c:pt>
                <c:pt idx="126">
                  <c:v>26.04.21</c:v>
                </c:pt>
              </c:strCache>
            </c:str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142</c:v>
                </c:pt>
                <c:pt idx="1">
                  <c:v>126</c:v>
                </c:pt>
                <c:pt idx="2">
                  <c:v>185</c:v>
                </c:pt>
                <c:pt idx="3">
                  <c:v>58</c:v>
                </c:pt>
                <c:pt idx="4">
                  <c:v>44</c:v>
                </c:pt>
                <c:pt idx="5">
                  <c:v>47</c:v>
                </c:pt>
                <c:pt idx="6">
                  <c:v>72</c:v>
                </c:pt>
                <c:pt idx="7">
                  <c:v>162</c:v>
                </c:pt>
                <c:pt idx="8">
                  <c:v>123</c:v>
                </c:pt>
                <c:pt idx="9">
                  <c:v>110</c:v>
                </c:pt>
                <c:pt idx="10">
                  <c:v>111</c:v>
                </c:pt>
                <c:pt idx="11">
                  <c:v>44</c:v>
                </c:pt>
                <c:pt idx="12">
                  <c:v>49</c:v>
                </c:pt>
                <c:pt idx="13">
                  <c:v>74</c:v>
                </c:pt>
                <c:pt idx="14">
                  <c:v>164</c:v>
                </c:pt>
                <c:pt idx="15">
                  <c:v>129</c:v>
                </c:pt>
                <c:pt idx="16">
                  <c:v>97</c:v>
                </c:pt>
                <c:pt idx="17">
                  <c:v>83</c:v>
                </c:pt>
                <c:pt idx="18">
                  <c:v>82</c:v>
                </c:pt>
                <c:pt idx="19">
                  <c:v>49</c:v>
                </c:pt>
                <c:pt idx="20">
                  <c:v>34</c:v>
                </c:pt>
                <c:pt idx="21">
                  <c:v>79</c:v>
                </c:pt>
                <c:pt idx="22">
                  <c:v>74</c:v>
                </c:pt>
                <c:pt idx="23">
                  <c:v>75</c:v>
                </c:pt>
                <c:pt idx="24">
                  <c:v>55</c:v>
                </c:pt>
                <c:pt idx="25">
                  <c:v>70</c:v>
                </c:pt>
                <c:pt idx="26">
                  <c:v>43</c:v>
                </c:pt>
                <c:pt idx="27">
                  <c:v>21</c:v>
                </c:pt>
                <c:pt idx="28">
                  <c:v>79</c:v>
                </c:pt>
                <c:pt idx="29">
                  <c:v>54</c:v>
                </c:pt>
                <c:pt idx="30">
                  <c:v>54</c:v>
                </c:pt>
                <c:pt idx="31">
                  <c:v>49</c:v>
                </c:pt>
                <c:pt idx="32">
                  <c:v>67</c:v>
                </c:pt>
                <c:pt idx="33">
                  <c:v>29</c:v>
                </c:pt>
                <c:pt idx="34">
                  <c:v>9</c:v>
                </c:pt>
                <c:pt idx="35">
                  <c:v>41</c:v>
                </c:pt>
                <c:pt idx="36">
                  <c:v>46</c:v>
                </c:pt>
                <c:pt idx="37">
                  <c:v>42</c:v>
                </c:pt>
                <c:pt idx="38">
                  <c:v>43</c:v>
                </c:pt>
                <c:pt idx="39">
                  <c:v>35</c:v>
                </c:pt>
                <c:pt idx="40">
                  <c:v>19</c:v>
                </c:pt>
                <c:pt idx="41">
                  <c:v>23</c:v>
                </c:pt>
                <c:pt idx="42">
                  <c:v>40</c:v>
                </c:pt>
                <c:pt idx="43">
                  <c:v>33</c:v>
                </c:pt>
                <c:pt idx="44">
                  <c:v>27</c:v>
                </c:pt>
                <c:pt idx="45">
                  <c:v>40</c:v>
                </c:pt>
                <c:pt idx="46">
                  <c:v>26</c:v>
                </c:pt>
                <c:pt idx="47">
                  <c:v>16</c:v>
                </c:pt>
                <c:pt idx="48">
                  <c:v>14</c:v>
                </c:pt>
                <c:pt idx="49">
                  <c:v>19</c:v>
                </c:pt>
                <c:pt idx="50">
                  <c:v>24</c:v>
                </c:pt>
                <c:pt idx="51">
                  <c:v>30</c:v>
                </c:pt>
                <c:pt idx="52">
                  <c:v>25</c:v>
                </c:pt>
                <c:pt idx="53">
                  <c:v>29</c:v>
                </c:pt>
                <c:pt idx="54">
                  <c:v>12</c:v>
                </c:pt>
                <c:pt idx="55">
                  <c:v>7</c:v>
                </c:pt>
                <c:pt idx="56">
                  <c:v>23</c:v>
                </c:pt>
                <c:pt idx="57">
                  <c:v>33</c:v>
                </c:pt>
                <c:pt idx="58">
                  <c:v>13</c:v>
                </c:pt>
                <c:pt idx="59">
                  <c:v>26</c:v>
                </c:pt>
                <c:pt idx="60">
                  <c:v>23</c:v>
                </c:pt>
                <c:pt idx="61">
                  <c:v>15</c:v>
                </c:pt>
                <c:pt idx="62">
                  <c:v>8</c:v>
                </c:pt>
                <c:pt idx="63">
                  <c:v>32</c:v>
                </c:pt>
                <c:pt idx="64">
                  <c:v>29</c:v>
                </c:pt>
                <c:pt idx="65">
                  <c:v>25</c:v>
                </c:pt>
                <c:pt idx="66">
                  <c:v>37</c:v>
                </c:pt>
                <c:pt idx="67">
                  <c:v>35</c:v>
                </c:pt>
                <c:pt idx="68">
                  <c:v>23</c:v>
                </c:pt>
                <c:pt idx="69">
                  <c:v>19</c:v>
                </c:pt>
                <c:pt idx="70">
                  <c:v>30</c:v>
                </c:pt>
                <c:pt idx="71">
                  <c:v>41</c:v>
                </c:pt>
                <c:pt idx="72">
                  <c:v>37</c:v>
                </c:pt>
                <c:pt idx="73">
                  <c:v>20</c:v>
                </c:pt>
                <c:pt idx="74">
                  <c:v>25</c:v>
                </c:pt>
                <c:pt idx="75">
                  <c:v>10</c:v>
                </c:pt>
                <c:pt idx="76">
                  <c:v>10</c:v>
                </c:pt>
                <c:pt idx="77">
                  <c:v>23</c:v>
                </c:pt>
                <c:pt idx="78">
                  <c:v>21</c:v>
                </c:pt>
                <c:pt idx="79">
                  <c:v>21</c:v>
                </c:pt>
                <c:pt idx="80">
                  <c:v>7</c:v>
                </c:pt>
                <c:pt idx="81">
                  <c:v>17</c:v>
                </c:pt>
                <c:pt idx="82">
                  <c:v>11</c:v>
                </c:pt>
                <c:pt idx="83">
                  <c:v>7</c:v>
                </c:pt>
                <c:pt idx="84">
                  <c:v>23</c:v>
                </c:pt>
                <c:pt idx="85">
                  <c:v>29</c:v>
                </c:pt>
                <c:pt idx="86">
                  <c:v>12</c:v>
                </c:pt>
                <c:pt idx="87">
                  <c:v>16</c:v>
                </c:pt>
                <c:pt idx="88">
                  <c:v>11</c:v>
                </c:pt>
                <c:pt idx="89">
                  <c:v>7</c:v>
                </c:pt>
                <c:pt idx="90">
                  <c:v>6</c:v>
                </c:pt>
                <c:pt idx="91">
                  <c:v>9</c:v>
                </c:pt>
                <c:pt idx="92">
                  <c:v>18</c:v>
                </c:pt>
                <c:pt idx="93">
                  <c:v>9</c:v>
                </c:pt>
                <c:pt idx="94">
                  <c:v>10</c:v>
                </c:pt>
                <c:pt idx="95">
                  <c:v>11</c:v>
                </c:pt>
                <c:pt idx="96">
                  <c:v>9</c:v>
                </c:pt>
                <c:pt idx="97">
                  <c:v>0</c:v>
                </c:pt>
                <c:pt idx="98">
                  <c:v>13</c:v>
                </c:pt>
                <c:pt idx="99">
                  <c:v>9</c:v>
                </c:pt>
                <c:pt idx="100">
                  <c:v>7</c:v>
                </c:pt>
                <c:pt idx="101">
                  <c:v>6</c:v>
                </c:pt>
                <c:pt idx="102">
                  <c:v>4</c:v>
                </c:pt>
                <c:pt idx="103">
                  <c:v>5</c:v>
                </c:pt>
                <c:pt idx="104">
                  <c:v>4</c:v>
                </c:pt>
                <c:pt idx="105">
                  <c:v>5</c:v>
                </c:pt>
                <c:pt idx="106">
                  <c:v>10</c:v>
                </c:pt>
                <c:pt idx="107">
                  <c:v>3</c:v>
                </c:pt>
                <c:pt idx="108">
                  <c:v>5</c:v>
                </c:pt>
                <c:pt idx="109">
                  <c:v>4</c:v>
                </c:pt>
                <c:pt idx="110">
                  <c:v>2</c:v>
                </c:pt>
                <c:pt idx="111">
                  <c:v>2</c:v>
                </c:pt>
                <c:pt idx="112">
                  <c:v>4</c:v>
                </c:pt>
                <c:pt idx="113">
                  <c:v>3</c:v>
                </c:pt>
                <c:pt idx="114">
                  <c:v>9</c:v>
                </c:pt>
                <c:pt idx="115">
                  <c:v>3</c:v>
                </c:pt>
                <c:pt idx="116">
                  <c:v>4</c:v>
                </c:pt>
                <c:pt idx="117">
                  <c:v>3</c:v>
                </c:pt>
                <c:pt idx="118">
                  <c:v>3</c:v>
                </c:pt>
                <c:pt idx="119">
                  <c:v>6</c:v>
                </c:pt>
                <c:pt idx="120">
                  <c:v>4</c:v>
                </c:pt>
                <c:pt idx="121">
                  <c:v>8</c:v>
                </c:pt>
                <c:pt idx="122">
                  <c:v>2</c:v>
                </c:pt>
                <c:pt idx="123">
                  <c:v>6</c:v>
                </c:pt>
                <c:pt idx="124">
                  <c:v>1</c:v>
                </c:pt>
                <c:pt idx="125">
                  <c:v>1</c:v>
                </c:pt>
                <c:pt idx="126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0"/>
                  <c:y val="-3.3668982341943633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28009897564401"/>
                      <c:h val="7.662379500904517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rgbClr val="ED7D3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21.12.20</c:v>
                </c:pt>
                <c:pt idx="1">
                  <c:v>22.12.20</c:v>
                </c:pt>
                <c:pt idx="2">
                  <c:v>23.12.20</c:v>
                </c:pt>
                <c:pt idx="3">
                  <c:v>24.12.20</c:v>
                </c:pt>
                <c:pt idx="4">
                  <c:v>25.12.20</c:v>
                </c:pt>
                <c:pt idx="5">
                  <c:v>26.12.20</c:v>
                </c:pt>
                <c:pt idx="6">
                  <c:v>27.12.20</c:v>
                </c:pt>
                <c:pt idx="7">
                  <c:v>28.12.20</c:v>
                </c:pt>
                <c:pt idx="8">
                  <c:v>29.12.20</c:v>
                </c:pt>
                <c:pt idx="9">
                  <c:v>30.12.20</c:v>
                </c:pt>
                <c:pt idx="10">
                  <c:v>31.12.20</c:v>
                </c:pt>
                <c:pt idx="11">
                  <c:v>01.01.21</c:v>
                </c:pt>
                <c:pt idx="12">
                  <c:v>02.01.21</c:v>
                </c:pt>
                <c:pt idx="13">
                  <c:v>03.01.21</c:v>
                </c:pt>
                <c:pt idx="14">
                  <c:v>04.01.21</c:v>
                </c:pt>
                <c:pt idx="15">
                  <c:v>05.01.21</c:v>
                </c:pt>
                <c:pt idx="16">
                  <c:v>06.01.21</c:v>
                </c:pt>
                <c:pt idx="17">
                  <c:v>07.01.21</c:v>
                </c:pt>
                <c:pt idx="18">
                  <c:v>08.01.21</c:v>
                </c:pt>
                <c:pt idx="19">
                  <c:v>09.01.21</c:v>
                </c:pt>
                <c:pt idx="20">
                  <c:v>10.01.21</c:v>
                </c:pt>
                <c:pt idx="21">
                  <c:v>11.01.21</c:v>
                </c:pt>
                <c:pt idx="22">
                  <c:v>12.01.21</c:v>
                </c:pt>
                <c:pt idx="23">
                  <c:v>13.01.21</c:v>
                </c:pt>
                <c:pt idx="24">
                  <c:v>14.01.21</c:v>
                </c:pt>
                <c:pt idx="25">
                  <c:v>15.01.21</c:v>
                </c:pt>
                <c:pt idx="26">
                  <c:v>16.01.21</c:v>
                </c:pt>
                <c:pt idx="27">
                  <c:v>17.01.21</c:v>
                </c:pt>
                <c:pt idx="28">
                  <c:v>18.01.21</c:v>
                </c:pt>
                <c:pt idx="29">
                  <c:v>19.01.21</c:v>
                </c:pt>
                <c:pt idx="30">
                  <c:v>20.01.21</c:v>
                </c:pt>
                <c:pt idx="31">
                  <c:v>21.01.21</c:v>
                </c:pt>
                <c:pt idx="32">
                  <c:v>22.01.21</c:v>
                </c:pt>
                <c:pt idx="33">
                  <c:v>23.01.21</c:v>
                </c:pt>
                <c:pt idx="34">
                  <c:v>24.01.21</c:v>
                </c:pt>
                <c:pt idx="35">
                  <c:v>25.01.21</c:v>
                </c:pt>
                <c:pt idx="36">
                  <c:v>26.01.21</c:v>
                </c:pt>
                <c:pt idx="37">
                  <c:v>27.01.21</c:v>
                </c:pt>
                <c:pt idx="38">
                  <c:v>28.01.21</c:v>
                </c:pt>
                <c:pt idx="39">
                  <c:v>29.01.21</c:v>
                </c:pt>
                <c:pt idx="40">
                  <c:v>30.01.21</c:v>
                </c:pt>
                <c:pt idx="41">
                  <c:v>31.01.21</c:v>
                </c:pt>
                <c:pt idx="42">
                  <c:v>01.02.21</c:v>
                </c:pt>
                <c:pt idx="43">
                  <c:v>02.02.21</c:v>
                </c:pt>
                <c:pt idx="44">
                  <c:v>03.02.21</c:v>
                </c:pt>
                <c:pt idx="45">
                  <c:v>04.02.21</c:v>
                </c:pt>
                <c:pt idx="46">
                  <c:v>05.02.21</c:v>
                </c:pt>
                <c:pt idx="47">
                  <c:v>06.02.21</c:v>
                </c:pt>
                <c:pt idx="48">
                  <c:v>07.02.21</c:v>
                </c:pt>
                <c:pt idx="49">
                  <c:v>08.02.21</c:v>
                </c:pt>
                <c:pt idx="50">
                  <c:v>09.02.21</c:v>
                </c:pt>
                <c:pt idx="51">
                  <c:v>10.02.21</c:v>
                </c:pt>
                <c:pt idx="52">
                  <c:v>11.02.21</c:v>
                </c:pt>
                <c:pt idx="53">
                  <c:v>12.02.21</c:v>
                </c:pt>
                <c:pt idx="54">
                  <c:v>13.02.21</c:v>
                </c:pt>
                <c:pt idx="55">
                  <c:v>14.02.21</c:v>
                </c:pt>
                <c:pt idx="56">
                  <c:v>15.02.21</c:v>
                </c:pt>
                <c:pt idx="57">
                  <c:v>16.02.21</c:v>
                </c:pt>
                <c:pt idx="58">
                  <c:v>17.02.21</c:v>
                </c:pt>
                <c:pt idx="59">
                  <c:v>18.02.21</c:v>
                </c:pt>
                <c:pt idx="60">
                  <c:v>19.02.21</c:v>
                </c:pt>
                <c:pt idx="61">
                  <c:v>20.02.21</c:v>
                </c:pt>
                <c:pt idx="62">
                  <c:v>21.02.21</c:v>
                </c:pt>
                <c:pt idx="63">
                  <c:v>22.02.21</c:v>
                </c:pt>
                <c:pt idx="64">
                  <c:v>23.02.21</c:v>
                </c:pt>
                <c:pt idx="65">
                  <c:v>24.02.21</c:v>
                </c:pt>
                <c:pt idx="66">
                  <c:v>25.02.21</c:v>
                </c:pt>
                <c:pt idx="67">
                  <c:v>26.02.21</c:v>
                </c:pt>
                <c:pt idx="68">
                  <c:v>27.02.21</c:v>
                </c:pt>
                <c:pt idx="69">
                  <c:v>28.02.21</c:v>
                </c:pt>
                <c:pt idx="70">
                  <c:v>01.03.21</c:v>
                </c:pt>
                <c:pt idx="71">
                  <c:v>02.03.21</c:v>
                </c:pt>
                <c:pt idx="72">
                  <c:v>03.03.21</c:v>
                </c:pt>
                <c:pt idx="73">
                  <c:v>04.03.21</c:v>
                </c:pt>
                <c:pt idx="74">
                  <c:v>05.03.21</c:v>
                </c:pt>
                <c:pt idx="75">
                  <c:v>06.03.21</c:v>
                </c:pt>
                <c:pt idx="76">
                  <c:v>07.03.21</c:v>
                </c:pt>
                <c:pt idx="77">
                  <c:v>08.03.21</c:v>
                </c:pt>
                <c:pt idx="78">
                  <c:v>09.03.21</c:v>
                </c:pt>
                <c:pt idx="79">
                  <c:v>10.03.21</c:v>
                </c:pt>
                <c:pt idx="80">
                  <c:v>11.03.21</c:v>
                </c:pt>
                <c:pt idx="81">
                  <c:v>12.03.21</c:v>
                </c:pt>
                <c:pt idx="82">
                  <c:v>13.03.21</c:v>
                </c:pt>
                <c:pt idx="83">
                  <c:v>14.03.21</c:v>
                </c:pt>
                <c:pt idx="84">
                  <c:v>15.03.21</c:v>
                </c:pt>
                <c:pt idx="85">
                  <c:v>16.03.21</c:v>
                </c:pt>
                <c:pt idx="86">
                  <c:v>17.03.21</c:v>
                </c:pt>
                <c:pt idx="87">
                  <c:v>18.03.21</c:v>
                </c:pt>
                <c:pt idx="88">
                  <c:v>19.03.21</c:v>
                </c:pt>
                <c:pt idx="89">
                  <c:v>20.03.21</c:v>
                </c:pt>
                <c:pt idx="90">
                  <c:v>21.03.21</c:v>
                </c:pt>
                <c:pt idx="91">
                  <c:v>22.03.21</c:v>
                </c:pt>
                <c:pt idx="92">
                  <c:v>23.03.21</c:v>
                </c:pt>
                <c:pt idx="93">
                  <c:v>24.03.21</c:v>
                </c:pt>
                <c:pt idx="94">
                  <c:v>25.03.21</c:v>
                </c:pt>
                <c:pt idx="95">
                  <c:v>26.03.21</c:v>
                </c:pt>
                <c:pt idx="96">
                  <c:v>27.03.21</c:v>
                </c:pt>
                <c:pt idx="97">
                  <c:v>28.03.21</c:v>
                </c:pt>
                <c:pt idx="98">
                  <c:v>29.03.21</c:v>
                </c:pt>
                <c:pt idx="99">
                  <c:v>30.03.21</c:v>
                </c:pt>
                <c:pt idx="100">
                  <c:v>31.03.21</c:v>
                </c:pt>
                <c:pt idx="101">
                  <c:v>01.04.21</c:v>
                </c:pt>
                <c:pt idx="102">
                  <c:v>02.04.21</c:v>
                </c:pt>
                <c:pt idx="103">
                  <c:v>03.04.21</c:v>
                </c:pt>
                <c:pt idx="104">
                  <c:v>04.04.21</c:v>
                </c:pt>
                <c:pt idx="105">
                  <c:v>05.04.21</c:v>
                </c:pt>
                <c:pt idx="106">
                  <c:v>06.04.21</c:v>
                </c:pt>
                <c:pt idx="107">
                  <c:v>07.04.21</c:v>
                </c:pt>
                <c:pt idx="108">
                  <c:v>08.04.21</c:v>
                </c:pt>
                <c:pt idx="109">
                  <c:v>09.04.21</c:v>
                </c:pt>
                <c:pt idx="110">
                  <c:v>10.04.21</c:v>
                </c:pt>
                <c:pt idx="111">
                  <c:v>11.04.21</c:v>
                </c:pt>
                <c:pt idx="112">
                  <c:v>12.04.21</c:v>
                </c:pt>
                <c:pt idx="113">
                  <c:v>13.04.21</c:v>
                </c:pt>
                <c:pt idx="114">
                  <c:v>14.04.21</c:v>
                </c:pt>
                <c:pt idx="115">
                  <c:v>15.04.21</c:v>
                </c:pt>
                <c:pt idx="116">
                  <c:v>16.04.21</c:v>
                </c:pt>
                <c:pt idx="117">
                  <c:v>17.04.21</c:v>
                </c:pt>
                <c:pt idx="118">
                  <c:v>18.04.21</c:v>
                </c:pt>
                <c:pt idx="119">
                  <c:v>19.04.21</c:v>
                </c:pt>
                <c:pt idx="120">
                  <c:v>20.04.21</c:v>
                </c:pt>
                <c:pt idx="121">
                  <c:v>21.04.21</c:v>
                </c:pt>
                <c:pt idx="122">
                  <c:v>22.04.21</c:v>
                </c:pt>
                <c:pt idx="123">
                  <c:v>23.04.21</c:v>
                </c:pt>
                <c:pt idx="124">
                  <c:v>24.04.21</c:v>
                </c:pt>
                <c:pt idx="125">
                  <c:v>25.04.21</c:v>
                </c:pt>
                <c:pt idx="126">
                  <c:v>26.04.21</c:v>
                </c:pt>
              </c:strCache>
            </c:str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274</c:v>
                </c:pt>
                <c:pt idx="1">
                  <c:v>296</c:v>
                </c:pt>
                <c:pt idx="2">
                  <c:v>293</c:v>
                </c:pt>
                <c:pt idx="3">
                  <c:v>88</c:v>
                </c:pt>
                <c:pt idx="4">
                  <c:v>78</c:v>
                </c:pt>
                <c:pt idx="5">
                  <c:v>115</c:v>
                </c:pt>
                <c:pt idx="6">
                  <c:v>120</c:v>
                </c:pt>
                <c:pt idx="7">
                  <c:v>331</c:v>
                </c:pt>
                <c:pt idx="8">
                  <c:v>391</c:v>
                </c:pt>
                <c:pt idx="9">
                  <c:v>361</c:v>
                </c:pt>
                <c:pt idx="10">
                  <c:v>251</c:v>
                </c:pt>
                <c:pt idx="11">
                  <c:v>80</c:v>
                </c:pt>
                <c:pt idx="12">
                  <c:v>138</c:v>
                </c:pt>
                <c:pt idx="13">
                  <c:v>156</c:v>
                </c:pt>
                <c:pt idx="14">
                  <c:v>379</c:v>
                </c:pt>
                <c:pt idx="15">
                  <c:v>376</c:v>
                </c:pt>
                <c:pt idx="16">
                  <c:v>338</c:v>
                </c:pt>
                <c:pt idx="17">
                  <c:v>273</c:v>
                </c:pt>
                <c:pt idx="18">
                  <c:v>241</c:v>
                </c:pt>
                <c:pt idx="19">
                  <c:v>126</c:v>
                </c:pt>
                <c:pt idx="20">
                  <c:v>75</c:v>
                </c:pt>
                <c:pt idx="21">
                  <c:v>272</c:v>
                </c:pt>
                <c:pt idx="22">
                  <c:v>227</c:v>
                </c:pt>
                <c:pt idx="23">
                  <c:v>192</c:v>
                </c:pt>
                <c:pt idx="24">
                  <c:v>157</c:v>
                </c:pt>
                <c:pt idx="25">
                  <c:v>197</c:v>
                </c:pt>
                <c:pt idx="26">
                  <c:v>88</c:v>
                </c:pt>
                <c:pt idx="27">
                  <c:v>46</c:v>
                </c:pt>
                <c:pt idx="28">
                  <c:v>191</c:v>
                </c:pt>
                <c:pt idx="29">
                  <c:v>208</c:v>
                </c:pt>
                <c:pt idx="30">
                  <c:v>171</c:v>
                </c:pt>
                <c:pt idx="31">
                  <c:v>145</c:v>
                </c:pt>
                <c:pt idx="32">
                  <c:v>136</c:v>
                </c:pt>
                <c:pt idx="33">
                  <c:v>65</c:v>
                </c:pt>
                <c:pt idx="34">
                  <c:v>42</c:v>
                </c:pt>
                <c:pt idx="35">
                  <c:v>152</c:v>
                </c:pt>
                <c:pt idx="36">
                  <c:v>166</c:v>
                </c:pt>
                <c:pt idx="37">
                  <c:v>110</c:v>
                </c:pt>
                <c:pt idx="38">
                  <c:v>125</c:v>
                </c:pt>
                <c:pt idx="39">
                  <c:v>103</c:v>
                </c:pt>
                <c:pt idx="40">
                  <c:v>54</c:v>
                </c:pt>
                <c:pt idx="41">
                  <c:v>30</c:v>
                </c:pt>
                <c:pt idx="42">
                  <c:v>122</c:v>
                </c:pt>
                <c:pt idx="43">
                  <c:v>112</c:v>
                </c:pt>
                <c:pt idx="44">
                  <c:v>125</c:v>
                </c:pt>
                <c:pt idx="45">
                  <c:v>104</c:v>
                </c:pt>
                <c:pt idx="46">
                  <c:v>106</c:v>
                </c:pt>
                <c:pt idx="47">
                  <c:v>55</c:v>
                </c:pt>
                <c:pt idx="48">
                  <c:v>28</c:v>
                </c:pt>
                <c:pt idx="49">
                  <c:v>119</c:v>
                </c:pt>
                <c:pt idx="50">
                  <c:v>110</c:v>
                </c:pt>
                <c:pt idx="51">
                  <c:v>102</c:v>
                </c:pt>
                <c:pt idx="52">
                  <c:v>105</c:v>
                </c:pt>
                <c:pt idx="53">
                  <c:v>99</c:v>
                </c:pt>
                <c:pt idx="54">
                  <c:v>45</c:v>
                </c:pt>
                <c:pt idx="55">
                  <c:v>28</c:v>
                </c:pt>
                <c:pt idx="56">
                  <c:v>118</c:v>
                </c:pt>
                <c:pt idx="57">
                  <c:v>116</c:v>
                </c:pt>
                <c:pt idx="58">
                  <c:v>111</c:v>
                </c:pt>
                <c:pt idx="59">
                  <c:v>108</c:v>
                </c:pt>
                <c:pt idx="60">
                  <c:v>124</c:v>
                </c:pt>
                <c:pt idx="61">
                  <c:v>55</c:v>
                </c:pt>
                <c:pt idx="62">
                  <c:v>35</c:v>
                </c:pt>
                <c:pt idx="63">
                  <c:v>123</c:v>
                </c:pt>
                <c:pt idx="64">
                  <c:v>150</c:v>
                </c:pt>
                <c:pt idx="65">
                  <c:v>130</c:v>
                </c:pt>
                <c:pt idx="66">
                  <c:v>118</c:v>
                </c:pt>
                <c:pt idx="67">
                  <c:v>142</c:v>
                </c:pt>
                <c:pt idx="68">
                  <c:v>76</c:v>
                </c:pt>
                <c:pt idx="69">
                  <c:v>37</c:v>
                </c:pt>
                <c:pt idx="70">
                  <c:v>125</c:v>
                </c:pt>
                <c:pt idx="71">
                  <c:v>135</c:v>
                </c:pt>
                <c:pt idx="72">
                  <c:v>113</c:v>
                </c:pt>
                <c:pt idx="73">
                  <c:v>112</c:v>
                </c:pt>
                <c:pt idx="74">
                  <c:v>116</c:v>
                </c:pt>
                <c:pt idx="75">
                  <c:v>60</c:v>
                </c:pt>
                <c:pt idx="76">
                  <c:v>38</c:v>
                </c:pt>
                <c:pt idx="77">
                  <c:v>104</c:v>
                </c:pt>
                <c:pt idx="78">
                  <c:v>117</c:v>
                </c:pt>
                <c:pt idx="79">
                  <c:v>108</c:v>
                </c:pt>
                <c:pt idx="80">
                  <c:v>87</c:v>
                </c:pt>
                <c:pt idx="81">
                  <c:v>112</c:v>
                </c:pt>
                <c:pt idx="82">
                  <c:v>50</c:v>
                </c:pt>
                <c:pt idx="83">
                  <c:v>30</c:v>
                </c:pt>
                <c:pt idx="84">
                  <c:v>105</c:v>
                </c:pt>
                <c:pt idx="85">
                  <c:v>87</c:v>
                </c:pt>
                <c:pt idx="86">
                  <c:v>88</c:v>
                </c:pt>
                <c:pt idx="87">
                  <c:v>77</c:v>
                </c:pt>
                <c:pt idx="88">
                  <c:v>78</c:v>
                </c:pt>
                <c:pt idx="89">
                  <c:v>30</c:v>
                </c:pt>
                <c:pt idx="90">
                  <c:v>24</c:v>
                </c:pt>
                <c:pt idx="91">
                  <c:v>97</c:v>
                </c:pt>
                <c:pt idx="92">
                  <c:v>64</c:v>
                </c:pt>
                <c:pt idx="93">
                  <c:v>64</c:v>
                </c:pt>
                <c:pt idx="94">
                  <c:v>46</c:v>
                </c:pt>
                <c:pt idx="95">
                  <c:v>51</c:v>
                </c:pt>
                <c:pt idx="96">
                  <c:v>29</c:v>
                </c:pt>
                <c:pt idx="97">
                  <c:v>18</c:v>
                </c:pt>
                <c:pt idx="98">
                  <c:v>56</c:v>
                </c:pt>
                <c:pt idx="99">
                  <c:v>53</c:v>
                </c:pt>
                <c:pt idx="100">
                  <c:v>36</c:v>
                </c:pt>
                <c:pt idx="101">
                  <c:v>45</c:v>
                </c:pt>
                <c:pt idx="102">
                  <c:v>26</c:v>
                </c:pt>
                <c:pt idx="103">
                  <c:v>22</c:v>
                </c:pt>
                <c:pt idx="104">
                  <c:v>22</c:v>
                </c:pt>
                <c:pt idx="105">
                  <c:v>22</c:v>
                </c:pt>
                <c:pt idx="106">
                  <c:v>66</c:v>
                </c:pt>
                <c:pt idx="107">
                  <c:v>49</c:v>
                </c:pt>
                <c:pt idx="108">
                  <c:v>33</c:v>
                </c:pt>
                <c:pt idx="109">
                  <c:v>27</c:v>
                </c:pt>
                <c:pt idx="110">
                  <c:v>15</c:v>
                </c:pt>
                <c:pt idx="111">
                  <c:v>8</c:v>
                </c:pt>
                <c:pt idx="112">
                  <c:v>25</c:v>
                </c:pt>
                <c:pt idx="113">
                  <c:v>29</c:v>
                </c:pt>
                <c:pt idx="114">
                  <c:v>27</c:v>
                </c:pt>
                <c:pt idx="115">
                  <c:v>23</c:v>
                </c:pt>
                <c:pt idx="116">
                  <c:v>24</c:v>
                </c:pt>
                <c:pt idx="117">
                  <c:v>8</c:v>
                </c:pt>
                <c:pt idx="118">
                  <c:v>6</c:v>
                </c:pt>
                <c:pt idx="119">
                  <c:v>28</c:v>
                </c:pt>
                <c:pt idx="120">
                  <c:v>26</c:v>
                </c:pt>
                <c:pt idx="121">
                  <c:v>20</c:v>
                </c:pt>
                <c:pt idx="122">
                  <c:v>11</c:v>
                </c:pt>
                <c:pt idx="123">
                  <c:v>9</c:v>
                </c:pt>
                <c:pt idx="124">
                  <c:v>8</c:v>
                </c:pt>
                <c:pt idx="125">
                  <c:v>4</c:v>
                </c:pt>
                <c:pt idx="126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6.2810391044661358E-4"/>
                  <c:y val="-8.364479762393176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485260247928398"/>
                      <c:h val="0.1113686531177176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21.12.20</c:v>
                </c:pt>
                <c:pt idx="1">
                  <c:v>22.12.20</c:v>
                </c:pt>
                <c:pt idx="2">
                  <c:v>23.12.20</c:v>
                </c:pt>
                <c:pt idx="3">
                  <c:v>24.12.20</c:v>
                </c:pt>
                <c:pt idx="4">
                  <c:v>25.12.20</c:v>
                </c:pt>
                <c:pt idx="5">
                  <c:v>26.12.20</c:v>
                </c:pt>
                <c:pt idx="6">
                  <c:v>27.12.20</c:v>
                </c:pt>
                <c:pt idx="7">
                  <c:v>28.12.20</c:v>
                </c:pt>
                <c:pt idx="8">
                  <c:v>29.12.20</c:v>
                </c:pt>
                <c:pt idx="9">
                  <c:v>30.12.20</c:v>
                </c:pt>
                <c:pt idx="10">
                  <c:v>31.12.20</c:v>
                </c:pt>
                <c:pt idx="11">
                  <c:v>01.01.21</c:v>
                </c:pt>
                <c:pt idx="12">
                  <c:v>02.01.21</c:v>
                </c:pt>
                <c:pt idx="13">
                  <c:v>03.01.21</c:v>
                </c:pt>
                <c:pt idx="14">
                  <c:v>04.01.21</c:v>
                </c:pt>
                <c:pt idx="15">
                  <c:v>05.01.21</c:v>
                </c:pt>
                <c:pt idx="16">
                  <c:v>06.01.21</c:v>
                </c:pt>
                <c:pt idx="17">
                  <c:v>07.01.21</c:v>
                </c:pt>
                <c:pt idx="18">
                  <c:v>08.01.21</c:v>
                </c:pt>
                <c:pt idx="19">
                  <c:v>09.01.21</c:v>
                </c:pt>
                <c:pt idx="20">
                  <c:v>10.01.21</c:v>
                </c:pt>
                <c:pt idx="21">
                  <c:v>11.01.21</c:v>
                </c:pt>
                <c:pt idx="22">
                  <c:v>12.01.21</c:v>
                </c:pt>
                <c:pt idx="23">
                  <c:v>13.01.21</c:v>
                </c:pt>
                <c:pt idx="24">
                  <c:v>14.01.21</c:v>
                </c:pt>
                <c:pt idx="25">
                  <c:v>15.01.21</c:v>
                </c:pt>
                <c:pt idx="26">
                  <c:v>16.01.21</c:v>
                </c:pt>
                <c:pt idx="27">
                  <c:v>17.01.21</c:v>
                </c:pt>
                <c:pt idx="28">
                  <c:v>18.01.21</c:v>
                </c:pt>
                <c:pt idx="29">
                  <c:v>19.01.21</c:v>
                </c:pt>
                <c:pt idx="30">
                  <c:v>20.01.21</c:v>
                </c:pt>
                <c:pt idx="31">
                  <c:v>21.01.21</c:v>
                </c:pt>
                <c:pt idx="32">
                  <c:v>22.01.21</c:v>
                </c:pt>
                <c:pt idx="33">
                  <c:v>23.01.21</c:v>
                </c:pt>
                <c:pt idx="34">
                  <c:v>24.01.21</c:v>
                </c:pt>
                <c:pt idx="35">
                  <c:v>25.01.21</c:v>
                </c:pt>
                <c:pt idx="36">
                  <c:v>26.01.21</c:v>
                </c:pt>
                <c:pt idx="37">
                  <c:v>27.01.21</c:v>
                </c:pt>
                <c:pt idx="38">
                  <c:v>28.01.21</c:v>
                </c:pt>
                <c:pt idx="39">
                  <c:v>29.01.21</c:v>
                </c:pt>
                <c:pt idx="40">
                  <c:v>30.01.21</c:v>
                </c:pt>
                <c:pt idx="41">
                  <c:v>31.01.21</c:v>
                </c:pt>
                <c:pt idx="42">
                  <c:v>01.02.21</c:v>
                </c:pt>
                <c:pt idx="43">
                  <c:v>02.02.21</c:v>
                </c:pt>
                <c:pt idx="44">
                  <c:v>03.02.21</c:v>
                </c:pt>
                <c:pt idx="45">
                  <c:v>04.02.21</c:v>
                </c:pt>
                <c:pt idx="46">
                  <c:v>05.02.21</c:v>
                </c:pt>
                <c:pt idx="47">
                  <c:v>06.02.21</c:v>
                </c:pt>
                <c:pt idx="48">
                  <c:v>07.02.21</c:v>
                </c:pt>
                <c:pt idx="49">
                  <c:v>08.02.21</c:v>
                </c:pt>
                <c:pt idx="50">
                  <c:v>09.02.21</c:v>
                </c:pt>
                <c:pt idx="51">
                  <c:v>10.02.21</c:v>
                </c:pt>
                <c:pt idx="52">
                  <c:v>11.02.21</c:v>
                </c:pt>
                <c:pt idx="53">
                  <c:v>12.02.21</c:v>
                </c:pt>
                <c:pt idx="54">
                  <c:v>13.02.21</c:v>
                </c:pt>
                <c:pt idx="55">
                  <c:v>14.02.21</c:v>
                </c:pt>
                <c:pt idx="56">
                  <c:v>15.02.21</c:v>
                </c:pt>
                <c:pt idx="57">
                  <c:v>16.02.21</c:v>
                </c:pt>
                <c:pt idx="58">
                  <c:v>17.02.21</c:v>
                </c:pt>
                <c:pt idx="59">
                  <c:v>18.02.21</c:v>
                </c:pt>
                <c:pt idx="60">
                  <c:v>19.02.21</c:v>
                </c:pt>
                <c:pt idx="61">
                  <c:v>20.02.21</c:v>
                </c:pt>
                <c:pt idx="62">
                  <c:v>21.02.21</c:v>
                </c:pt>
                <c:pt idx="63">
                  <c:v>22.02.21</c:v>
                </c:pt>
                <c:pt idx="64">
                  <c:v>23.02.21</c:v>
                </c:pt>
                <c:pt idx="65">
                  <c:v>24.02.21</c:v>
                </c:pt>
                <c:pt idx="66">
                  <c:v>25.02.21</c:v>
                </c:pt>
                <c:pt idx="67">
                  <c:v>26.02.21</c:v>
                </c:pt>
                <c:pt idx="68">
                  <c:v>27.02.21</c:v>
                </c:pt>
                <c:pt idx="69">
                  <c:v>28.02.21</c:v>
                </c:pt>
                <c:pt idx="70">
                  <c:v>01.03.21</c:v>
                </c:pt>
                <c:pt idx="71">
                  <c:v>02.03.21</c:v>
                </c:pt>
                <c:pt idx="72">
                  <c:v>03.03.21</c:v>
                </c:pt>
                <c:pt idx="73">
                  <c:v>04.03.21</c:v>
                </c:pt>
                <c:pt idx="74">
                  <c:v>05.03.21</c:v>
                </c:pt>
                <c:pt idx="75">
                  <c:v>06.03.21</c:v>
                </c:pt>
                <c:pt idx="76">
                  <c:v>07.03.21</c:v>
                </c:pt>
                <c:pt idx="77">
                  <c:v>08.03.21</c:v>
                </c:pt>
                <c:pt idx="78">
                  <c:v>09.03.21</c:v>
                </c:pt>
                <c:pt idx="79">
                  <c:v>10.03.21</c:v>
                </c:pt>
                <c:pt idx="80">
                  <c:v>11.03.21</c:v>
                </c:pt>
                <c:pt idx="81">
                  <c:v>12.03.21</c:v>
                </c:pt>
                <c:pt idx="82">
                  <c:v>13.03.21</c:v>
                </c:pt>
                <c:pt idx="83">
                  <c:v>14.03.21</c:v>
                </c:pt>
                <c:pt idx="84">
                  <c:v>15.03.21</c:v>
                </c:pt>
                <c:pt idx="85">
                  <c:v>16.03.21</c:v>
                </c:pt>
                <c:pt idx="86">
                  <c:v>17.03.21</c:v>
                </c:pt>
                <c:pt idx="87">
                  <c:v>18.03.21</c:v>
                </c:pt>
                <c:pt idx="88">
                  <c:v>19.03.21</c:v>
                </c:pt>
                <c:pt idx="89">
                  <c:v>20.03.21</c:v>
                </c:pt>
                <c:pt idx="90">
                  <c:v>21.03.21</c:v>
                </c:pt>
                <c:pt idx="91">
                  <c:v>22.03.21</c:v>
                </c:pt>
                <c:pt idx="92">
                  <c:v>23.03.21</c:v>
                </c:pt>
                <c:pt idx="93">
                  <c:v>24.03.21</c:v>
                </c:pt>
                <c:pt idx="94">
                  <c:v>25.03.21</c:v>
                </c:pt>
                <c:pt idx="95">
                  <c:v>26.03.21</c:v>
                </c:pt>
                <c:pt idx="96">
                  <c:v>27.03.21</c:v>
                </c:pt>
                <c:pt idx="97">
                  <c:v>28.03.21</c:v>
                </c:pt>
                <c:pt idx="98">
                  <c:v>29.03.21</c:v>
                </c:pt>
                <c:pt idx="99">
                  <c:v>30.03.21</c:v>
                </c:pt>
                <c:pt idx="100">
                  <c:v>31.03.21</c:v>
                </c:pt>
                <c:pt idx="101">
                  <c:v>01.04.21</c:v>
                </c:pt>
                <c:pt idx="102">
                  <c:v>02.04.21</c:v>
                </c:pt>
                <c:pt idx="103">
                  <c:v>03.04.21</c:v>
                </c:pt>
                <c:pt idx="104">
                  <c:v>04.04.21</c:v>
                </c:pt>
                <c:pt idx="105">
                  <c:v>05.04.21</c:v>
                </c:pt>
                <c:pt idx="106">
                  <c:v>06.04.21</c:v>
                </c:pt>
                <c:pt idx="107">
                  <c:v>07.04.21</c:v>
                </c:pt>
                <c:pt idx="108">
                  <c:v>08.04.21</c:v>
                </c:pt>
                <c:pt idx="109">
                  <c:v>09.04.21</c:v>
                </c:pt>
                <c:pt idx="110">
                  <c:v>10.04.21</c:v>
                </c:pt>
                <c:pt idx="111">
                  <c:v>11.04.21</c:v>
                </c:pt>
                <c:pt idx="112">
                  <c:v>12.04.21</c:v>
                </c:pt>
                <c:pt idx="113">
                  <c:v>13.04.21</c:v>
                </c:pt>
                <c:pt idx="114">
                  <c:v>14.04.21</c:v>
                </c:pt>
                <c:pt idx="115">
                  <c:v>15.04.21</c:v>
                </c:pt>
                <c:pt idx="116">
                  <c:v>16.04.21</c:v>
                </c:pt>
                <c:pt idx="117">
                  <c:v>17.04.21</c:v>
                </c:pt>
                <c:pt idx="118">
                  <c:v>18.04.21</c:v>
                </c:pt>
                <c:pt idx="119">
                  <c:v>19.04.21</c:v>
                </c:pt>
                <c:pt idx="120">
                  <c:v>20.04.21</c:v>
                </c:pt>
                <c:pt idx="121">
                  <c:v>21.04.21</c:v>
                </c:pt>
                <c:pt idx="122">
                  <c:v>22.04.21</c:v>
                </c:pt>
                <c:pt idx="123">
                  <c:v>23.04.21</c:v>
                </c:pt>
                <c:pt idx="124">
                  <c:v>24.04.21</c:v>
                </c:pt>
                <c:pt idx="125">
                  <c:v>25.04.21</c:v>
                </c:pt>
                <c:pt idx="126">
                  <c:v>26.04.21</c:v>
                </c:pt>
              </c:strCache>
            </c:strRef>
          </c:cat>
          <c:val>
            <c:numRef>
              <c:f>List1!$B$4:$DX$4</c:f>
              <c:numCache>
                <c:formatCode>General</c:formatCode>
                <c:ptCount val="127"/>
                <c:pt idx="0">
                  <c:v>199</c:v>
                </c:pt>
                <c:pt idx="1">
                  <c:v>226</c:v>
                </c:pt>
                <c:pt idx="2">
                  <c:v>272</c:v>
                </c:pt>
                <c:pt idx="3">
                  <c:v>90</c:v>
                </c:pt>
                <c:pt idx="4">
                  <c:v>62</c:v>
                </c:pt>
                <c:pt idx="5">
                  <c:v>72</c:v>
                </c:pt>
                <c:pt idx="6">
                  <c:v>100</c:v>
                </c:pt>
                <c:pt idx="7">
                  <c:v>265</c:v>
                </c:pt>
                <c:pt idx="8">
                  <c:v>334</c:v>
                </c:pt>
                <c:pt idx="9">
                  <c:v>339</c:v>
                </c:pt>
                <c:pt idx="10">
                  <c:v>246</c:v>
                </c:pt>
                <c:pt idx="11">
                  <c:v>58</c:v>
                </c:pt>
                <c:pt idx="12">
                  <c:v>122</c:v>
                </c:pt>
                <c:pt idx="13">
                  <c:v>87</c:v>
                </c:pt>
                <c:pt idx="14">
                  <c:v>311</c:v>
                </c:pt>
                <c:pt idx="15">
                  <c:v>300</c:v>
                </c:pt>
                <c:pt idx="16">
                  <c:v>306</c:v>
                </c:pt>
                <c:pt idx="17">
                  <c:v>267</c:v>
                </c:pt>
                <c:pt idx="18">
                  <c:v>228</c:v>
                </c:pt>
                <c:pt idx="19">
                  <c:v>121</c:v>
                </c:pt>
                <c:pt idx="20">
                  <c:v>68</c:v>
                </c:pt>
                <c:pt idx="21">
                  <c:v>187</c:v>
                </c:pt>
                <c:pt idx="22">
                  <c:v>206</c:v>
                </c:pt>
                <c:pt idx="23">
                  <c:v>224</c:v>
                </c:pt>
                <c:pt idx="24">
                  <c:v>144</c:v>
                </c:pt>
                <c:pt idx="25">
                  <c:v>190</c:v>
                </c:pt>
                <c:pt idx="26">
                  <c:v>81</c:v>
                </c:pt>
                <c:pt idx="27">
                  <c:v>32</c:v>
                </c:pt>
                <c:pt idx="28">
                  <c:v>193</c:v>
                </c:pt>
                <c:pt idx="29">
                  <c:v>193</c:v>
                </c:pt>
                <c:pt idx="30">
                  <c:v>125</c:v>
                </c:pt>
                <c:pt idx="31">
                  <c:v>154</c:v>
                </c:pt>
                <c:pt idx="32">
                  <c:v>152</c:v>
                </c:pt>
                <c:pt idx="33">
                  <c:v>70</c:v>
                </c:pt>
                <c:pt idx="34">
                  <c:v>49</c:v>
                </c:pt>
                <c:pt idx="35">
                  <c:v>139</c:v>
                </c:pt>
                <c:pt idx="36">
                  <c:v>144</c:v>
                </c:pt>
                <c:pt idx="37">
                  <c:v>154</c:v>
                </c:pt>
                <c:pt idx="38">
                  <c:v>130</c:v>
                </c:pt>
                <c:pt idx="39">
                  <c:v>98</c:v>
                </c:pt>
                <c:pt idx="40">
                  <c:v>55</c:v>
                </c:pt>
                <c:pt idx="41">
                  <c:v>44</c:v>
                </c:pt>
                <c:pt idx="42">
                  <c:v>114</c:v>
                </c:pt>
                <c:pt idx="43">
                  <c:v>132</c:v>
                </c:pt>
                <c:pt idx="44">
                  <c:v>143</c:v>
                </c:pt>
                <c:pt idx="45">
                  <c:v>87</c:v>
                </c:pt>
                <c:pt idx="46">
                  <c:v>108</c:v>
                </c:pt>
                <c:pt idx="47">
                  <c:v>48</c:v>
                </c:pt>
                <c:pt idx="48">
                  <c:v>40</c:v>
                </c:pt>
                <c:pt idx="49">
                  <c:v>118</c:v>
                </c:pt>
                <c:pt idx="50">
                  <c:v>144</c:v>
                </c:pt>
                <c:pt idx="51">
                  <c:v>137</c:v>
                </c:pt>
                <c:pt idx="52">
                  <c:v>108</c:v>
                </c:pt>
                <c:pt idx="53">
                  <c:v>109</c:v>
                </c:pt>
                <c:pt idx="54">
                  <c:v>55</c:v>
                </c:pt>
                <c:pt idx="55">
                  <c:v>24</c:v>
                </c:pt>
                <c:pt idx="56">
                  <c:v>124</c:v>
                </c:pt>
                <c:pt idx="57">
                  <c:v>124</c:v>
                </c:pt>
                <c:pt idx="58">
                  <c:v>135</c:v>
                </c:pt>
                <c:pt idx="59">
                  <c:v>128</c:v>
                </c:pt>
                <c:pt idx="60">
                  <c:v>117</c:v>
                </c:pt>
                <c:pt idx="61">
                  <c:v>62</c:v>
                </c:pt>
                <c:pt idx="62">
                  <c:v>28</c:v>
                </c:pt>
                <c:pt idx="63">
                  <c:v>121</c:v>
                </c:pt>
                <c:pt idx="64">
                  <c:v>160</c:v>
                </c:pt>
                <c:pt idx="65">
                  <c:v>141</c:v>
                </c:pt>
                <c:pt idx="66">
                  <c:v>138</c:v>
                </c:pt>
                <c:pt idx="67">
                  <c:v>141</c:v>
                </c:pt>
                <c:pt idx="68">
                  <c:v>76</c:v>
                </c:pt>
                <c:pt idx="69">
                  <c:v>37</c:v>
                </c:pt>
                <c:pt idx="70">
                  <c:v>153</c:v>
                </c:pt>
                <c:pt idx="71">
                  <c:v>170</c:v>
                </c:pt>
                <c:pt idx="72">
                  <c:v>167</c:v>
                </c:pt>
                <c:pt idx="73">
                  <c:v>151</c:v>
                </c:pt>
                <c:pt idx="74">
                  <c:v>138</c:v>
                </c:pt>
                <c:pt idx="75">
                  <c:v>70</c:v>
                </c:pt>
                <c:pt idx="76">
                  <c:v>32</c:v>
                </c:pt>
                <c:pt idx="77">
                  <c:v>114</c:v>
                </c:pt>
                <c:pt idx="78">
                  <c:v>146</c:v>
                </c:pt>
                <c:pt idx="79">
                  <c:v>125</c:v>
                </c:pt>
                <c:pt idx="80">
                  <c:v>109</c:v>
                </c:pt>
                <c:pt idx="81">
                  <c:v>124</c:v>
                </c:pt>
                <c:pt idx="82">
                  <c:v>64</c:v>
                </c:pt>
                <c:pt idx="83">
                  <c:v>32</c:v>
                </c:pt>
                <c:pt idx="84">
                  <c:v>117</c:v>
                </c:pt>
                <c:pt idx="85">
                  <c:v>123</c:v>
                </c:pt>
                <c:pt idx="86">
                  <c:v>97</c:v>
                </c:pt>
                <c:pt idx="87">
                  <c:v>92</c:v>
                </c:pt>
                <c:pt idx="88">
                  <c:v>71</c:v>
                </c:pt>
                <c:pt idx="89">
                  <c:v>28</c:v>
                </c:pt>
                <c:pt idx="90">
                  <c:v>18</c:v>
                </c:pt>
                <c:pt idx="91">
                  <c:v>84</c:v>
                </c:pt>
                <c:pt idx="92">
                  <c:v>84</c:v>
                </c:pt>
                <c:pt idx="93">
                  <c:v>67</c:v>
                </c:pt>
                <c:pt idx="94">
                  <c:v>65</c:v>
                </c:pt>
                <c:pt idx="95">
                  <c:v>57</c:v>
                </c:pt>
                <c:pt idx="96">
                  <c:v>19</c:v>
                </c:pt>
                <c:pt idx="97">
                  <c:v>7</c:v>
                </c:pt>
                <c:pt idx="98">
                  <c:v>69</c:v>
                </c:pt>
                <c:pt idx="99">
                  <c:v>77</c:v>
                </c:pt>
                <c:pt idx="100">
                  <c:v>61</c:v>
                </c:pt>
                <c:pt idx="101">
                  <c:v>33</c:v>
                </c:pt>
                <c:pt idx="102">
                  <c:v>16</c:v>
                </c:pt>
                <c:pt idx="103">
                  <c:v>10</c:v>
                </c:pt>
                <c:pt idx="104">
                  <c:v>15</c:v>
                </c:pt>
                <c:pt idx="105">
                  <c:v>9</c:v>
                </c:pt>
                <c:pt idx="106">
                  <c:v>42</c:v>
                </c:pt>
                <c:pt idx="107">
                  <c:v>41</c:v>
                </c:pt>
                <c:pt idx="108">
                  <c:v>46</c:v>
                </c:pt>
                <c:pt idx="109">
                  <c:v>30</c:v>
                </c:pt>
                <c:pt idx="110">
                  <c:v>14</c:v>
                </c:pt>
                <c:pt idx="111">
                  <c:v>5</c:v>
                </c:pt>
                <c:pt idx="112">
                  <c:v>26</c:v>
                </c:pt>
                <c:pt idx="113">
                  <c:v>23</c:v>
                </c:pt>
                <c:pt idx="114">
                  <c:v>23</c:v>
                </c:pt>
                <c:pt idx="115">
                  <c:v>19</c:v>
                </c:pt>
                <c:pt idx="116">
                  <c:v>21</c:v>
                </c:pt>
                <c:pt idx="117">
                  <c:v>8</c:v>
                </c:pt>
                <c:pt idx="118">
                  <c:v>5</c:v>
                </c:pt>
                <c:pt idx="119">
                  <c:v>22</c:v>
                </c:pt>
                <c:pt idx="120">
                  <c:v>21</c:v>
                </c:pt>
                <c:pt idx="121">
                  <c:v>31</c:v>
                </c:pt>
                <c:pt idx="122">
                  <c:v>11</c:v>
                </c:pt>
                <c:pt idx="123">
                  <c:v>14</c:v>
                </c:pt>
                <c:pt idx="124">
                  <c:v>4</c:v>
                </c:pt>
                <c:pt idx="125">
                  <c:v>2</c:v>
                </c:pt>
                <c:pt idx="126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  <c:pt idx="98">
                  <c:v>44295</c:v>
                </c:pt>
                <c:pt idx="99">
                  <c:v>44296</c:v>
                </c:pt>
                <c:pt idx="100">
                  <c:v>44297</c:v>
                </c:pt>
                <c:pt idx="101">
                  <c:v>44298</c:v>
                </c:pt>
                <c:pt idx="102">
                  <c:v>44299</c:v>
                </c:pt>
                <c:pt idx="103">
                  <c:v>44300</c:v>
                </c:pt>
                <c:pt idx="104">
                  <c:v>44301</c:v>
                </c:pt>
                <c:pt idx="105">
                  <c:v>44302</c:v>
                </c:pt>
                <c:pt idx="106">
                  <c:v>44303</c:v>
                </c:pt>
                <c:pt idx="107">
                  <c:v>44304</c:v>
                </c:pt>
                <c:pt idx="108">
                  <c:v>44305</c:v>
                </c:pt>
                <c:pt idx="109">
                  <c:v>44306</c:v>
                </c:pt>
                <c:pt idx="110">
                  <c:v>44307</c:v>
                </c:pt>
                <c:pt idx="111">
                  <c:v>44308</c:v>
                </c:pt>
                <c:pt idx="112">
                  <c:v>44309</c:v>
                </c:pt>
                <c:pt idx="113">
                  <c:v>44310</c:v>
                </c:pt>
                <c:pt idx="114">
                  <c:v>44311</c:v>
                </c:pt>
                <c:pt idx="115">
                  <c:v>44312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755</c:v>
                </c:pt>
                <c:pt idx="1">
                  <c:v>1085</c:v>
                </c:pt>
                <c:pt idx="2">
                  <c:v>1163</c:v>
                </c:pt>
                <c:pt idx="3">
                  <c:v>2413</c:v>
                </c:pt>
                <c:pt idx="4">
                  <c:v>3138</c:v>
                </c:pt>
                <c:pt idx="5">
                  <c:v>3163</c:v>
                </c:pt>
                <c:pt idx="6">
                  <c:v>2943</c:v>
                </c:pt>
                <c:pt idx="7">
                  <c:v>2664</c:v>
                </c:pt>
                <c:pt idx="8">
                  <c:v>1664</c:v>
                </c:pt>
                <c:pt idx="9">
                  <c:v>813</c:v>
                </c:pt>
                <c:pt idx="10">
                  <c:v>1860</c:v>
                </c:pt>
                <c:pt idx="11">
                  <c:v>2027</c:v>
                </c:pt>
                <c:pt idx="12">
                  <c:v>2008</c:v>
                </c:pt>
                <c:pt idx="13">
                  <c:v>1496</c:v>
                </c:pt>
                <c:pt idx="14">
                  <c:v>1772</c:v>
                </c:pt>
                <c:pt idx="15">
                  <c:v>921</c:v>
                </c:pt>
                <c:pt idx="16">
                  <c:v>507</c:v>
                </c:pt>
                <c:pt idx="17">
                  <c:v>1340</c:v>
                </c:pt>
                <c:pt idx="18">
                  <c:v>1594</c:v>
                </c:pt>
                <c:pt idx="19">
                  <c:v>1487</c:v>
                </c:pt>
                <c:pt idx="20">
                  <c:v>1326</c:v>
                </c:pt>
                <c:pt idx="21">
                  <c:v>1478</c:v>
                </c:pt>
                <c:pt idx="22">
                  <c:v>723</c:v>
                </c:pt>
                <c:pt idx="23">
                  <c:v>411</c:v>
                </c:pt>
                <c:pt idx="24">
                  <c:v>1238</c:v>
                </c:pt>
                <c:pt idx="25">
                  <c:v>1411</c:v>
                </c:pt>
                <c:pt idx="26">
                  <c:v>1444</c:v>
                </c:pt>
                <c:pt idx="27">
                  <c:v>1327</c:v>
                </c:pt>
                <c:pt idx="28">
                  <c:v>1333</c:v>
                </c:pt>
                <c:pt idx="29">
                  <c:v>665</c:v>
                </c:pt>
                <c:pt idx="30">
                  <c:v>449</c:v>
                </c:pt>
                <c:pt idx="31">
                  <c:v>1202</c:v>
                </c:pt>
                <c:pt idx="32">
                  <c:v>1438</c:v>
                </c:pt>
                <c:pt idx="33">
                  <c:v>1432</c:v>
                </c:pt>
                <c:pt idx="34">
                  <c:v>1328</c:v>
                </c:pt>
                <c:pt idx="35">
                  <c:v>1412</c:v>
                </c:pt>
                <c:pt idx="36">
                  <c:v>771</c:v>
                </c:pt>
                <c:pt idx="37">
                  <c:v>448</c:v>
                </c:pt>
                <c:pt idx="38">
                  <c:v>1122</c:v>
                </c:pt>
                <c:pt idx="39">
                  <c:v>1466</c:v>
                </c:pt>
                <c:pt idx="40">
                  <c:v>1383</c:v>
                </c:pt>
                <c:pt idx="41">
                  <c:v>1387</c:v>
                </c:pt>
                <c:pt idx="42">
                  <c:v>1328</c:v>
                </c:pt>
                <c:pt idx="43">
                  <c:v>728</c:v>
                </c:pt>
                <c:pt idx="44">
                  <c:v>457</c:v>
                </c:pt>
                <c:pt idx="45">
                  <c:v>1302</c:v>
                </c:pt>
                <c:pt idx="46">
                  <c:v>1761</c:v>
                </c:pt>
                <c:pt idx="47">
                  <c:v>1459</c:v>
                </c:pt>
                <c:pt idx="48">
                  <c:v>1600</c:v>
                </c:pt>
                <c:pt idx="49">
                  <c:v>1717</c:v>
                </c:pt>
                <c:pt idx="50">
                  <c:v>945</c:v>
                </c:pt>
                <c:pt idx="51">
                  <c:v>581</c:v>
                </c:pt>
                <c:pt idx="52">
                  <c:v>1633</c:v>
                </c:pt>
                <c:pt idx="53">
                  <c:v>2109</c:v>
                </c:pt>
                <c:pt idx="54">
                  <c:v>1925</c:v>
                </c:pt>
                <c:pt idx="55">
                  <c:v>2007</c:v>
                </c:pt>
                <c:pt idx="56">
                  <c:v>2094</c:v>
                </c:pt>
                <c:pt idx="57">
                  <c:v>1051</c:v>
                </c:pt>
                <c:pt idx="58">
                  <c:v>657</c:v>
                </c:pt>
                <c:pt idx="59">
                  <c:v>1851</c:v>
                </c:pt>
                <c:pt idx="60">
                  <c:v>2399</c:v>
                </c:pt>
                <c:pt idx="61">
                  <c:v>2168</c:v>
                </c:pt>
                <c:pt idx="62">
                  <c:v>2054</c:v>
                </c:pt>
                <c:pt idx="63">
                  <c:v>1877</c:v>
                </c:pt>
                <c:pt idx="64">
                  <c:v>1311</c:v>
                </c:pt>
                <c:pt idx="65">
                  <c:v>645</c:v>
                </c:pt>
                <c:pt idx="66">
                  <c:v>1543</c:v>
                </c:pt>
                <c:pt idx="67">
                  <c:v>1984</c:v>
                </c:pt>
                <c:pt idx="68">
                  <c:v>2017</c:v>
                </c:pt>
                <c:pt idx="69">
                  <c:v>1628</c:v>
                </c:pt>
                <c:pt idx="70">
                  <c:v>2249</c:v>
                </c:pt>
                <c:pt idx="71">
                  <c:v>980</c:v>
                </c:pt>
                <c:pt idx="72">
                  <c:v>542</c:v>
                </c:pt>
                <c:pt idx="73">
                  <c:v>1624</c:v>
                </c:pt>
                <c:pt idx="74">
                  <c:v>2051</c:v>
                </c:pt>
                <c:pt idx="75">
                  <c:v>1788</c:v>
                </c:pt>
                <c:pt idx="76">
                  <c:v>1586</c:v>
                </c:pt>
                <c:pt idx="77">
                  <c:v>1430</c:v>
                </c:pt>
                <c:pt idx="78">
                  <c:v>843</c:v>
                </c:pt>
                <c:pt idx="79">
                  <c:v>440</c:v>
                </c:pt>
                <c:pt idx="80">
                  <c:v>1211</c:v>
                </c:pt>
                <c:pt idx="81">
                  <c:v>1622</c:v>
                </c:pt>
                <c:pt idx="82">
                  <c:v>1319</c:v>
                </c:pt>
                <c:pt idx="83">
                  <c:v>1288</c:v>
                </c:pt>
                <c:pt idx="84">
                  <c:v>1176</c:v>
                </c:pt>
                <c:pt idx="85">
                  <c:v>641</c:v>
                </c:pt>
                <c:pt idx="86">
                  <c:v>326</c:v>
                </c:pt>
                <c:pt idx="87">
                  <c:v>1117</c:v>
                </c:pt>
                <c:pt idx="88">
                  <c:v>1294</c:v>
                </c:pt>
                <c:pt idx="89">
                  <c:v>1193</c:v>
                </c:pt>
                <c:pt idx="90">
                  <c:v>989</c:v>
                </c:pt>
                <c:pt idx="91">
                  <c:v>551</c:v>
                </c:pt>
                <c:pt idx="92">
                  <c:v>377</c:v>
                </c:pt>
                <c:pt idx="93">
                  <c:v>327</c:v>
                </c:pt>
                <c:pt idx="94">
                  <c:v>291</c:v>
                </c:pt>
                <c:pt idx="95">
                  <c:v>816</c:v>
                </c:pt>
                <c:pt idx="96">
                  <c:v>980</c:v>
                </c:pt>
                <c:pt idx="97">
                  <c:v>782</c:v>
                </c:pt>
                <c:pt idx="98">
                  <c:v>717</c:v>
                </c:pt>
                <c:pt idx="99">
                  <c:v>363</c:v>
                </c:pt>
                <c:pt idx="100">
                  <c:v>203</c:v>
                </c:pt>
                <c:pt idx="101">
                  <c:v>579</c:v>
                </c:pt>
                <c:pt idx="102">
                  <c:v>691</c:v>
                </c:pt>
                <c:pt idx="103">
                  <c:v>581</c:v>
                </c:pt>
                <c:pt idx="104">
                  <c:v>468</c:v>
                </c:pt>
                <c:pt idx="105">
                  <c:v>512</c:v>
                </c:pt>
                <c:pt idx="106">
                  <c:v>246</c:v>
                </c:pt>
                <c:pt idx="107">
                  <c:v>144</c:v>
                </c:pt>
                <c:pt idx="108">
                  <c:v>467</c:v>
                </c:pt>
                <c:pt idx="109">
                  <c:v>489</c:v>
                </c:pt>
                <c:pt idx="110">
                  <c:v>412</c:v>
                </c:pt>
                <c:pt idx="111">
                  <c:v>400</c:v>
                </c:pt>
                <c:pt idx="112">
                  <c:v>337</c:v>
                </c:pt>
                <c:pt idx="113">
                  <c:v>156</c:v>
                </c:pt>
                <c:pt idx="114">
                  <c:v>121</c:v>
                </c:pt>
                <c:pt idx="115">
                  <c:v>3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B6-412C-86C8-148F4FE20C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zitivita na 100 testů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2:$R$2</c:f>
              <c:numCache>
                <c:formatCode>0.0</c:formatCode>
                <c:ptCount val="17"/>
                <c:pt idx="0">
                  <c:v>27.987897125567322</c:v>
                </c:pt>
                <c:pt idx="1">
                  <c:v>26.179729175215428</c:v>
                </c:pt>
                <c:pt idx="2">
                  <c:v>17.76359526658689</c:v>
                </c:pt>
                <c:pt idx="3">
                  <c:v>18.622001170275016</c:v>
                </c:pt>
                <c:pt idx="4">
                  <c:v>18.907859460984902</c:v>
                </c:pt>
                <c:pt idx="5">
                  <c:v>20.338278108969917</c:v>
                </c:pt>
                <c:pt idx="6">
                  <c:v>20.523434370409934</c:v>
                </c:pt>
                <c:pt idx="7">
                  <c:v>22.2198065007066</c:v>
                </c:pt>
                <c:pt idx="8">
                  <c:v>22.83623760469818</c:v>
                </c:pt>
                <c:pt idx="9">
                  <c:v>26.366184026156002</c:v>
                </c:pt>
                <c:pt idx="10">
                  <c:v>35.575288116380129</c:v>
                </c:pt>
                <c:pt idx="11">
                  <c:v>35.145586897179257</c:v>
                </c:pt>
                <c:pt idx="12">
                  <c:v>37.729454956227052</c:v>
                </c:pt>
                <c:pt idx="13">
                  <c:v>34.628378378378379</c:v>
                </c:pt>
                <c:pt idx="14">
                  <c:v>30.19898556379243</c:v>
                </c:pt>
                <c:pt idx="15">
                  <c:v>29.365768896611645</c:v>
                </c:pt>
                <c:pt idx="16">
                  <c:v>25.3105590062111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zitivita na 100 testů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2:$R$2</c:f>
              <c:numCache>
                <c:formatCode>0.0</c:formatCode>
                <c:ptCount val="17"/>
                <c:pt idx="0">
                  <c:v>27.103742778196434</c:v>
                </c:pt>
                <c:pt idx="1">
                  <c:v>25.404878048780489</c:v>
                </c:pt>
                <c:pt idx="2">
                  <c:v>20.623219969844193</c:v>
                </c:pt>
                <c:pt idx="3">
                  <c:v>20.437109723461194</c:v>
                </c:pt>
                <c:pt idx="4">
                  <c:v>20.291519434628974</c:v>
                </c:pt>
                <c:pt idx="5">
                  <c:v>20.849224510551743</c:v>
                </c:pt>
                <c:pt idx="6">
                  <c:v>21.734077173407719</c:v>
                </c:pt>
                <c:pt idx="7">
                  <c:v>22.075379344101812</c:v>
                </c:pt>
                <c:pt idx="8">
                  <c:v>23.244724582077282</c:v>
                </c:pt>
                <c:pt idx="9">
                  <c:v>25.160418777440054</c:v>
                </c:pt>
                <c:pt idx="10">
                  <c:v>31.099246830012394</c:v>
                </c:pt>
                <c:pt idx="11">
                  <c:v>30.759493670886073</c:v>
                </c:pt>
                <c:pt idx="12">
                  <c:v>29.391748192258614</c:v>
                </c:pt>
                <c:pt idx="13">
                  <c:v>27.639311043566362</c:v>
                </c:pt>
                <c:pt idx="14">
                  <c:v>22.408198121263879</c:v>
                </c:pt>
                <c:pt idx="15">
                  <c:v>17.671584348941629</c:v>
                </c:pt>
                <c:pt idx="16">
                  <c:v>11.537509284476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7C8-4186-ADD6-0BA21F8E71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zitivita na 100 testů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2:$R$2</c:f>
              <c:numCache>
                <c:formatCode>0.0</c:formatCode>
                <c:ptCount val="17"/>
                <c:pt idx="0">
                  <c:v>29.413140051437924</c:v>
                </c:pt>
                <c:pt idx="1">
                  <c:v>29.209720627631075</c:v>
                </c:pt>
                <c:pt idx="2">
                  <c:v>24.193729632542983</c:v>
                </c:pt>
                <c:pt idx="3">
                  <c:v>25.049728152764882</c:v>
                </c:pt>
                <c:pt idx="4">
                  <c:v>26.648829431438127</c:v>
                </c:pt>
                <c:pt idx="5">
                  <c:v>25.996106424399741</c:v>
                </c:pt>
                <c:pt idx="6">
                  <c:v>27.070025310353142</c:v>
                </c:pt>
                <c:pt idx="7">
                  <c:v>29.328694228407699</c:v>
                </c:pt>
                <c:pt idx="8">
                  <c:v>29.05634758995248</c:v>
                </c:pt>
                <c:pt idx="9">
                  <c:v>28.723062077838534</c:v>
                </c:pt>
                <c:pt idx="10">
                  <c:v>28.538758772967434</c:v>
                </c:pt>
                <c:pt idx="11">
                  <c:v>26.060953629362611</c:v>
                </c:pt>
                <c:pt idx="12">
                  <c:v>23.236395047509358</c:v>
                </c:pt>
                <c:pt idx="13">
                  <c:v>20.983146067415731</c:v>
                </c:pt>
                <c:pt idx="14">
                  <c:v>17.806169429097608</c:v>
                </c:pt>
                <c:pt idx="15">
                  <c:v>15.169288189816049</c:v>
                </c:pt>
                <c:pt idx="16">
                  <c:v>12.4307323648345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33D-41C9-A810-503EE87A8F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zitivita na 100 testů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2:$R$2</c:f>
              <c:numCache>
                <c:formatCode>0.0</c:formatCode>
                <c:ptCount val="17"/>
                <c:pt idx="0">
                  <c:v>27.588996763754047</c:v>
                </c:pt>
                <c:pt idx="1">
                  <c:v>25.014679976512038</c:v>
                </c:pt>
                <c:pt idx="2">
                  <c:v>16.881874701099953</c:v>
                </c:pt>
                <c:pt idx="3">
                  <c:v>15.812196438208312</c:v>
                </c:pt>
                <c:pt idx="4">
                  <c:v>17.72357723577236</c:v>
                </c:pt>
                <c:pt idx="5">
                  <c:v>17.023445463812436</c:v>
                </c:pt>
                <c:pt idx="6">
                  <c:v>18.164967562557923</c:v>
                </c:pt>
                <c:pt idx="7">
                  <c:v>20.050869012293347</c:v>
                </c:pt>
                <c:pt idx="8">
                  <c:v>20.02630713581059</c:v>
                </c:pt>
                <c:pt idx="9">
                  <c:v>19.357277882797732</c:v>
                </c:pt>
                <c:pt idx="10">
                  <c:v>25.223499361430395</c:v>
                </c:pt>
                <c:pt idx="11">
                  <c:v>25.299281723862734</c:v>
                </c:pt>
                <c:pt idx="12">
                  <c:v>22.512077294685991</c:v>
                </c:pt>
                <c:pt idx="13">
                  <c:v>20</c:v>
                </c:pt>
                <c:pt idx="14">
                  <c:v>19.744483159117305</c:v>
                </c:pt>
                <c:pt idx="15">
                  <c:v>17.894736842105264</c:v>
                </c:pt>
                <c:pt idx="16">
                  <c:v>14.481707317073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zitivita na 100 testů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2:$R$2</c:f>
              <c:numCache>
                <c:formatCode>0.0</c:formatCode>
                <c:ptCount val="17"/>
                <c:pt idx="0">
                  <c:v>32.750327940533452</c:v>
                </c:pt>
                <c:pt idx="1">
                  <c:v>29.611330698287219</c:v>
                </c:pt>
                <c:pt idx="2">
                  <c:v>21.189591078066915</c:v>
                </c:pt>
                <c:pt idx="3">
                  <c:v>20.50413844996238</c:v>
                </c:pt>
                <c:pt idx="4">
                  <c:v>19.293384135781089</c:v>
                </c:pt>
                <c:pt idx="5">
                  <c:v>20.28839704896043</c:v>
                </c:pt>
                <c:pt idx="6">
                  <c:v>20.418357789572276</c:v>
                </c:pt>
                <c:pt idx="7">
                  <c:v>21.268196397730076</c:v>
                </c:pt>
                <c:pt idx="8">
                  <c:v>20.979591836734691</c:v>
                </c:pt>
                <c:pt idx="9">
                  <c:v>23.023770038695414</c:v>
                </c:pt>
                <c:pt idx="10">
                  <c:v>29.546475078581054</c:v>
                </c:pt>
                <c:pt idx="11">
                  <c:v>27.492625368731566</c:v>
                </c:pt>
                <c:pt idx="12">
                  <c:v>24.63382157123835</c:v>
                </c:pt>
                <c:pt idx="13">
                  <c:v>20.844564240790657</c:v>
                </c:pt>
                <c:pt idx="14">
                  <c:v>20.207253886010363</c:v>
                </c:pt>
                <c:pt idx="15">
                  <c:v>17.028493894165535</c:v>
                </c:pt>
                <c:pt idx="16">
                  <c:v>12.809917355371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744-453A-85AE-C1EB82D0D9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zitivita na 100 testů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9.12 - 4.1</c:v>
                </c:pt>
                <c:pt idx="1">
                  <c:v>5.1 - 11.1</c:v>
                </c:pt>
                <c:pt idx="2">
                  <c:v>12.1 - 18.1</c:v>
                </c:pt>
                <c:pt idx="3">
                  <c:v>19.1 - 25.1</c:v>
                </c:pt>
                <c:pt idx="4">
                  <c:v>26.1 - 1.2</c:v>
                </c:pt>
                <c:pt idx="5">
                  <c:v>2.2 - 8.2</c:v>
                </c:pt>
                <c:pt idx="6">
                  <c:v>9.2 - 15.2</c:v>
                </c:pt>
                <c:pt idx="7">
                  <c:v>16.2 - 22.2</c:v>
                </c:pt>
                <c:pt idx="8">
                  <c:v>23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</c:strCache>
            </c:strRef>
          </c:cat>
          <c:val>
            <c:numRef>
              <c:f>List1!$B$2:$R$2</c:f>
              <c:numCache>
                <c:formatCode>0.0</c:formatCode>
                <c:ptCount val="17"/>
                <c:pt idx="0">
                  <c:v>42.425053533190578</c:v>
                </c:pt>
                <c:pt idx="1">
                  <c:v>41.027837259100643</c:v>
                </c:pt>
                <c:pt idx="2">
                  <c:v>28.402903811252266</c:v>
                </c:pt>
                <c:pt idx="3">
                  <c:v>26.600229973169796</c:v>
                </c:pt>
                <c:pt idx="4">
                  <c:v>25.859491778774292</c:v>
                </c:pt>
                <c:pt idx="5">
                  <c:v>24.742998936547323</c:v>
                </c:pt>
                <c:pt idx="6">
                  <c:v>27.761389708292363</c:v>
                </c:pt>
                <c:pt idx="7">
                  <c:v>24.696774193548386</c:v>
                </c:pt>
                <c:pt idx="8">
                  <c:v>30.925925925925924</c:v>
                </c:pt>
                <c:pt idx="9">
                  <c:v>29.531656548135299</c:v>
                </c:pt>
                <c:pt idx="10">
                  <c:v>30.073630924988493</c:v>
                </c:pt>
                <c:pt idx="11">
                  <c:v>26.138559205078664</c:v>
                </c:pt>
                <c:pt idx="12">
                  <c:v>23.874624874958318</c:v>
                </c:pt>
                <c:pt idx="13">
                  <c:v>17.958656330749353</c:v>
                </c:pt>
                <c:pt idx="14">
                  <c:v>17.49819233550253</c:v>
                </c:pt>
                <c:pt idx="15">
                  <c:v>14.798387096774194</c:v>
                </c:pt>
                <c:pt idx="16">
                  <c:v>13.734290843806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E64-420A-B995-32638B9320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31</cdr:x>
      <cdr:y>0.07386</cdr:y>
    </cdr:from>
    <cdr:to>
      <cdr:x>0.52762</cdr:x>
      <cdr:y>0.53331</cdr:y>
    </cdr:to>
    <cdr:sp macro="" textlink="">
      <cdr:nvSpPr>
        <cdr:cNvPr id="7" name="TextovéPole 6">
          <a:extLst xmlns:a="http://schemas.openxmlformats.org/drawingml/2006/main">
            <a:ext uri="{FF2B5EF4-FFF2-40B4-BE49-F238E27FC236}">
              <a16:creationId xmlns:a16="http://schemas.microsoft.com/office/drawing/2014/main" id="{25102C19-C8AD-4006-A336-4A700ABDDE88}"/>
            </a:ext>
          </a:extLst>
        </cdr:cNvPr>
        <cdr:cNvSpPr txBox="1"/>
      </cdr:nvSpPr>
      <cdr:spPr>
        <a:xfrm xmlns:a="http://schemas.openxmlformats.org/drawingml/2006/main">
          <a:off x="1478256" y="431342"/>
          <a:ext cx="4475747" cy="268304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cs-CZ" sz="1600" b="1" dirty="0">
              <a:solidFill>
                <a:srgbClr val="D31145"/>
              </a:solidFill>
            </a:rPr>
            <a:t>Březen 		1 133 694</a:t>
          </a:r>
        </a:p>
        <a:p xmlns:a="http://schemas.openxmlformats.org/drawingml/2006/main">
          <a:r>
            <a:rPr lang="cs-CZ" sz="1600" dirty="0" err="1"/>
            <a:t>Pfizer</a:t>
          </a:r>
          <a:r>
            <a:rPr lang="cs-CZ" sz="1600" dirty="0"/>
            <a:t> 		707 850</a:t>
          </a:r>
        </a:p>
        <a:p xmlns:a="http://schemas.openxmlformats.org/drawingml/2006/main">
          <a:r>
            <a:rPr lang="cs-CZ" sz="1600" dirty="0"/>
            <a:t>Moderna		147 600</a:t>
          </a:r>
        </a:p>
        <a:p xmlns:a="http://schemas.openxmlformats.org/drawingml/2006/main">
          <a:r>
            <a:rPr lang="cs-CZ" sz="1600" dirty="0"/>
            <a:t>AstraZeneca	278 244</a:t>
          </a:r>
        </a:p>
        <a:p xmlns:a="http://schemas.openxmlformats.org/drawingml/2006/main">
          <a:endParaRPr lang="cs-CZ" sz="1600" dirty="0"/>
        </a:p>
        <a:p xmlns:a="http://schemas.openxmlformats.org/drawingml/2006/main">
          <a:r>
            <a:rPr lang="cs-CZ" sz="1600" b="1" dirty="0">
              <a:solidFill>
                <a:srgbClr val="D62051"/>
              </a:solidFill>
            </a:rPr>
            <a:t>Duben	</a:t>
          </a:r>
          <a:r>
            <a:rPr lang="cs-CZ" sz="1600" dirty="0">
              <a:solidFill>
                <a:srgbClr val="D62051"/>
              </a:solidFill>
            </a:rPr>
            <a:t>	</a:t>
          </a:r>
          <a:r>
            <a:rPr lang="cs-CZ" sz="1600" b="1" dirty="0">
              <a:solidFill>
                <a:srgbClr val="D62051"/>
              </a:solidFill>
            </a:rPr>
            <a:t>2 120 797</a:t>
          </a:r>
        </a:p>
        <a:p xmlns:a="http://schemas.openxmlformats.org/drawingml/2006/main">
          <a:r>
            <a:rPr lang="cs-CZ" sz="1600" dirty="0" err="1"/>
            <a:t>Pfizer</a:t>
          </a:r>
          <a:r>
            <a:rPr lang="cs-CZ" sz="1600" dirty="0"/>
            <a:t>		1 145 430</a:t>
          </a:r>
        </a:p>
        <a:p xmlns:a="http://schemas.openxmlformats.org/drawingml/2006/main">
          <a:r>
            <a:rPr lang="cs-CZ" sz="1600" dirty="0"/>
            <a:t>Moderna		276 600</a:t>
          </a:r>
        </a:p>
        <a:p xmlns:a="http://schemas.openxmlformats.org/drawingml/2006/main">
          <a:r>
            <a:rPr lang="cs-CZ" sz="1600" dirty="0"/>
            <a:t>AstraZeneca	400 000 ?</a:t>
          </a:r>
        </a:p>
        <a:p xmlns:a="http://schemas.openxmlformats.org/drawingml/2006/main">
          <a:endParaRPr lang="cs-CZ" dirty="0"/>
        </a:p>
        <a:p xmlns:a="http://schemas.openxmlformats.org/drawingml/2006/main">
          <a:endParaRPr lang="cs-CZ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14179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61049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37156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6819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47224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3584CE-9EBC-AD46-8819-745BF0C92CFB}" type="slidenum">
              <a:rPr kumimoji="0" lang="en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3737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3584CE-9EBC-AD46-8819-745BF0C92CFB}" type="slidenum">
              <a:rPr kumimoji="0" lang="en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36065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22128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24577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93337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16169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4176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22264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77051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6" Type="http://schemas.openxmlformats.org/officeDocument/2006/relationships/image" Target="NULL"/><Relationship Id="rId5" Type="http://schemas.openxmlformats.org/officeDocument/2006/relationships/image" Target="../media/image12.png"/><Relationship Id="rId4" Type="http://schemas.openxmlformats.org/officeDocument/2006/relationships/image" Target="../media/image3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6" Type="http://schemas.openxmlformats.org/officeDocument/2006/relationships/image" Target="NULL"/><Relationship Id="rId5" Type="http://schemas.openxmlformats.org/officeDocument/2006/relationships/image" Target="../media/image12.png"/><Relationship Id="rId4" Type="http://schemas.openxmlformats.org/officeDocument/2006/relationships/image" Target="../media/image3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6" Type="http://schemas.openxmlformats.org/officeDocument/2006/relationships/image" Target="NULL"/><Relationship Id="rId5" Type="http://schemas.openxmlformats.org/officeDocument/2006/relationships/image" Target="../media/image12.png"/><Relationship Id="rId4" Type="http://schemas.openxmlformats.org/officeDocument/2006/relationships/image" Target="../media/image13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6" Type="http://schemas.openxmlformats.org/officeDocument/2006/relationships/image" Target="NUL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svg"/><Relationship Id="rId5" Type="http://schemas.openxmlformats.org/officeDocument/2006/relationships/image" Target="../media/image12.pn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svg"/><Relationship Id="rId5" Type="http://schemas.openxmlformats.org/officeDocument/2006/relationships/image" Target="../media/image12.png"/><Relationship Id="rId4" Type="http://schemas.openxmlformats.org/officeDocument/2006/relationships/image" Target="../media/image3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svg"/><Relationship Id="rId5" Type="http://schemas.openxmlformats.org/officeDocument/2006/relationships/image" Target="../media/image12.png"/><Relationship Id="rId4" Type="http://schemas.openxmlformats.org/officeDocument/2006/relationships/image" Target="../media/image13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0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942907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85297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07353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53627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304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5146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3315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5370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32192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661392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13410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389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20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4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1197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9283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49465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265472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539833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917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4514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1364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27615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42792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0459450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65931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24658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6131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3566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21990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5034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1292780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50997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3004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2867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E1F266-4867-4FDD-9FB2-B0505DA457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CA6EB5-385D-4913-9C35-A9990241EA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281972-08CD-4128-8360-932CCBA52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2C53F3-0FBF-4ADE-B28F-9C371CFFCE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3288A8-532D-433C-AB35-C4249FB9F3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458216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01C893-D8EF-48B3-A54C-6A7447995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8B657-5E57-41D3-BDA9-88B54012C8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C8FD93-169F-4F7F-BDE4-A6ADABAC7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EAAB52-C9C6-4960-B8B5-DC9236D83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5933F7-BDE2-4444-8AE9-BFAAD2AFD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67357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AC12-BD61-4F3E-8023-E05FB257B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2D35DD-D0C7-4C01-967D-BD220F77B4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758036-2BFC-405E-88FD-2933F50E28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8AD81-79A3-4AC8-9C5D-0A5C82299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E2E077-0477-4BF9-940F-5C814E0C3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4209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5757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63F3F-A832-4EBB-A18A-4BF2220B5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AD5AEF-A690-4DAF-AAAE-2160529A03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E8D50D-4388-40D9-A98D-B56DF0A93B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7FB85A-C4CC-4A71-B4DB-31F26F2AC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4226C5-F9AF-44E6-82CB-226CD4338D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63BEED-43CD-4126-9836-79137D3F7B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135611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C73D05-0394-4362-9B27-7F45E5BAC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9A8203-6F75-425B-B046-3954B0113C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D38D7B-FFDB-463F-A1A7-BD7278285A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91EDD3-8465-4FB9-86A0-4BEE4062EE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F93CF3-8AB8-4F43-B55A-6E5A40CE0D5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253A86E-3A45-4D8E-8B9A-7261095A23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9215CF-DB3C-45F7-8FD6-4050CAB84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D19C45-F9D3-4ABB-A1A6-767C03E1D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098924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A7B30-3ABC-4005-AE7C-9F21A46090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C348671-1142-4FDA-B883-CD07CCF6E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FCEE53-FE71-4F78-8442-1D1B56F7E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71F8F5-FEB2-476F-883A-8AF87EEDA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025749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C2A063-3969-40F4-A503-C11260889E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0FA65C-4559-4D11-9042-6FDB985CB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DAF814-EEC3-4275-AE10-319D7A020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9386535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87B69A-0970-4DF3-9DBF-906ADB57E3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EB1CB3-C5BD-41BF-91B0-E22EC18108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07E656-0CA6-4952-8A94-D2FF99DAD5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C8F93A-D193-44CE-96B5-8AE4094B6D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DD049-E38E-4C8F-A439-B76BB15D82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2CE0FC-5719-4713-82C0-E8A021CD4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349093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F76CA7-BD05-4C05-8E4D-1F6ACF19F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C31290-80D7-472F-9A12-CD44557EA8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D6BAE8-F2C4-4EA0-9A5B-B1F1D0EDBD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C1564E-3D3D-492B-BF23-9E288E495B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AF70ED-DB3B-4116-99A2-9DA954516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9830E4-CD62-4045-9B26-17575866F2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5879656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5E1B1D-6996-46E1-B64F-DD15F78A4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BA50F4-EC50-4964-B91D-9D56DF80A0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FE5490-68BB-4474-BF7B-221B22444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2B7E93-1822-4BC7-A3C2-53694C7A2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D01363-CB6F-4D73-9F6E-6653828C27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8630177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C67E270-153C-4B0A-B325-C14C21F3F81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4DE5802-454C-45D1-A5A0-A3E962BD58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6FCB0C-8372-4901-BABB-4264EA4D93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119E6-592E-4354-B89E-79C8DFF8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A3B11C-57D7-4C56-81E3-F53AFF919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347197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91255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7021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6213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451255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833987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85569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0331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36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017586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143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350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303267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6AD168-46D9-47A6-8163-7BDD6BF906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90F9CE-EC72-4FE9-8F30-A60011AF06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E678BA-58F7-4E69-9BB6-3E2E879539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22C89D-822C-41A9-A691-08127673038F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5E25D1-DEF3-4ACC-90E0-B59D773D24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BC20C9-F806-4294-B8CE-BA39230714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5371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151292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notesSlide" Target="../notesSlides/notesSlide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0.xml"/><Relationship Id="rId1" Type="http://schemas.openxmlformats.org/officeDocument/2006/relationships/tags" Target="../tags/tag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3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chart" Target="../charts/chart6.xml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chart" Target="../charts/chart5.xml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chart" Target="../charts/chart9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chart" Target="../charts/chart4.xml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slideLayout" Target="../slideLayouts/slideLayout45.xml"/><Relationship Id="rId28" Type="http://schemas.openxmlformats.org/officeDocument/2006/relationships/chart" Target="../charts/chart8.xml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chart" Target="../charts/char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54.xml"/><Relationship Id="rId7" Type="http://schemas.openxmlformats.org/officeDocument/2006/relationships/slideLayout" Target="../slideLayouts/slideLayout19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chart" Target="../charts/chart11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slideLayout" Target="../slideLayouts/slideLayout3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chart" Target="../charts/char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0.xml"/><Relationship Id="rId1" Type="http://schemas.openxmlformats.org/officeDocument/2006/relationships/tags" Target="../tags/tag6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10" Type="http://schemas.openxmlformats.org/officeDocument/2006/relationships/chart" Target="../charts/chart13.xml"/><Relationship Id="rId4" Type="http://schemas.openxmlformats.org/officeDocument/2006/relationships/tags" Target="../tags/tag73.xml"/><Relationship Id="rId9" Type="http://schemas.openxmlformats.org/officeDocument/2006/relationships/slideLayout" Target="../slideLayouts/slideLayout3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10" Type="http://schemas.openxmlformats.org/officeDocument/2006/relationships/chart" Target="../charts/chart14.xml"/><Relationship Id="rId4" Type="http://schemas.openxmlformats.org/officeDocument/2006/relationships/tags" Target="../tags/tag81.xml"/><Relationship Id="rId9" Type="http://schemas.openxmlformats.org/officeDocument/2006/relationships/slideLayout" Target="../slideLayouts/slideLayout3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10" Type="http://schemas.openxmlformats.org/officeDocument/2006/relationships/notesSlide" Target="../notesSlides/notesSlide5.xml"/><Relationship Id="rId4" Type="http://schemas.openxmlformats.org/officeDocument/2006/relationships/tags" Target="../tags/tag89.xml"/><Relationship Id="rId9" Type="http://schemas.openxmlformats.org/officeDocument/2006/relationships/slideLayout" Target="../slideLayouts/slideLayout3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chart" Target="../charts/chart15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58.xml"/><Relationship Id="rId4" Type="http://schemas.openxmlformats.org/officeDocument/2006/relationships/tags" Target="../tags/tag9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6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1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chart" Target="../charts/chart2.xml"/><Relationship Id="rId5" Type="http://schemas.openxmlformats.org/officeDocument/2006/relationships/slideLayout" Target="../slideLayouts/slideLayout31.xml"/><Relationship Id="rId4" Type="http://schemas.openxmlformats.org/officeDocument/2006/relationships/tags" Target="../tags/tag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8"/>
            <a:ext cx="11905307" cy="2423019"/>
          </a:xfrm>
        </p:spPr>
        <p:txBody>
          <a:bodyPr>
            <a:normAutofit/>
          </a:bodyPr>
          <a:lstStyle/>
          <a:p>
            <a:r>
              <a:rPr lang="cs-CZ" sz="4800" b="1" dirty="0"/>
              <a:t>Stav </a:t>
            </a:r>
            <a:r>
              <a:rPr lang="cs-CZ" sz="4800" b="1" dirty="0" smtClean="0"/>
              <a:t>epidemie, testování a očkování </a:t>
            </a:r>
          </a:p>
          <a:p>
            <a:r>
              <a:rPr lang="cs-CZ" sz="4800" b="1" dirty="0" smtClean="0"/>
              <a:t>k </a:t>
            </a:r>
            <a:r>
              <a:rPr lang="cs-CZ" sz="4800" b="1" dirty="0" smtClean="0"/>
              <a:t>27. </a:t>
            </a:r>
            <a:r>
              <a:rPr lang="cs-CZ" sz="4800" b="1" dirty="0"/>
              <a:t>4. 2021</a:t>
            </a:r>
          </a:p>
          <a:p>
            <a:r>
              <a:rPr lang="cs-CZ" sz="4800" b="1" dirty="0"/>
              <a:t>– </a:t>
            </a:r>
            <a:r>
              <a:rPr lang="cs-CZ" sz="4800" b="1" dirty="0" smtClean="0"/>
              <a:t>výběr </a:t>
            </a:r>
            <a:r>
              <a:rPr lang="cs-CZ" sz="4800" b="1" dirty="0"/>
              <a:t>aktuálních dat –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108461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ovéPole 20"/>
          <p:cNvSpPr txBox="1"/>
          <p:nvPr/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ý počet nově nakažených potenciálně zranitelných pacientů zvyšoval zátěž nemocnic. V posledním týdnu počty pacientů klesají. 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3C7B102-51CF-40DA-86E3-19AB93DE7FE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753063" y="2214940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35" name="Tabulka 3">
            <a:extLst>
              <a:ext uri="{FF2B5EF4-FFF2-40B4-BE49-F238E27FC236}">
                <a16:creationId xmlns:a16="http://schemas.microsoft.com/office/drawing/2014/main" id="{A3693099-23CE-4447-AC61-AFCE59524C7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9973383"/>
              </p:ext>
            </p:extLst>
          </p:nvPr>
        </p:nvGraphicFramePr>
        <p:xfrm>
          <a:off x="4780229" y="1318755"/>
          <a:ext cx="6406083" cy="2072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82702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23381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800" b="1" u="sng" dirty="0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é 3 dny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51</a:t>
                      </a:r>
                      <a:endParaRPr lang="cs-CZ" sz="28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ých 7 dní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  <a:r>
                        <a:rPr lang="en-US" sz="28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endParaRPr lang="cs-CZ" sz="28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ých 14 dní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 </a:t>
                      </a:r>
                      <a:r>
                        <a:rPr lang="en-US" sz="28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98</a:t>
                      </a:r>
                      <a:endParaRPr lang="cs-CZ" sz="28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2" name="Šipka doprava 1"/>
          <p:cNvSpPr/>
          <p:nvPr/>
        </p:nvSpPr>
        <p:spPr>
          <a:xfrm rot="1228665">
            <a:off x="11096993" y="4854039"/>
            <a:ext cx="664908" cy="202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Chart 4">
            <a:extLst>
              <a:ext uri="{FF2B5EF4-FFF2-40B4-BE49-F238E27FC236}">
                <a16:creationId xmlns:a16="http://schemas.microsoft.com/office/drawing/2014/main" id="{28D7BD8C-D0E3-4222-9665-404AFAA67A3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21513405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97772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D48422-1472-2B43-AFF4-50C66979E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961" y="93910"/>
            <a:ext cx="11490037" cy="1325563"/>
          </a:xfrm>
        </p:spPr>
        <p:txBody>
          <a:bodyPr>
            <a:noAutofit/>
          </a:bodyPr>
          <a:lstStyle/>
          <a:p>
            <a:pPr algn="ctr"/>
            <a:r>
              <a:rPr lang="en-CZ" sz="3400" b="1" dirty="0"/>
              <a:t/>
            </a:r>
            <a:br>
              <a:rPr lang="en-CZ" sz="3400" b="1" dirty="0"/>
            </a:br>
            <a:r>
              <a:rPr lang="en-CZ" sz="4000" b="1" dirty="0">
                <a:latin typeface="+mn-lt"/>
              </a:rPr>
              <a:t>Aktuální </a:t>
            </a:r>
            <a:r>
              <a:rPr lang="cs-CZ" sz="4000" b="1" dirty="0">
                <a:latin typeface="+mn-lt"/>
              </a:rPr>
              <a:t>počty </a:t>
            </a:r>
            <a:r>
              <a:rPr lang="en-CZ" sz="4000" b="1" dirty="0">
                <a:latin typeface="+mn-lt"/>
              </a:rPr>
              <a:t>hospitalizovaných</a:t>
            </a:r>
            <a:r>
              <a:rPr lang="cs-CZ" sz="4000" b="1" dirty="0">
                <a:latin typeface="+mn-lt"/>
              </a:rPr>
              <a:t> pacientů klesají</a:t>
            </a:r>
            <a:br>
              <a:rPr lang="cs-CZ" sz="4000" b="1" dirty="0">
                <a:latin typeface="+mn-lt"/>
              </a:rPr>
            </a:br>
            <a:r>
              <a:rPr lang="cs-CZ" sz="4000" b="1" dirty="0">
                <a:latin typeface="+mn-lt"/>
              </a:rPr>
              <a:t>a roste i dostupná kapacita lůžek, včetně JIP</a:t>
            </a:r>
            <a:endParaRPr lang="en-CZ" sz="4000" b="1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6AA7CEA-DA9D-FB48-ACE8-2C23380168C2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782785" y="3294205"/>
            <a:ext cx="10515600" cy="344833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sz="5700" dirty="0"/>
              <a:t>C</a:t>
            </a:r>
            <a:r>
              <a:rPr lang="en-CZ" sz="5700" dirty="0"/>
              <a:t>elkem v nemocnici: 		</a:t>
            </a:r>
            <a:r>
              <a:rPr lang="cs-CZ" sz="5700" dirty="0">
                <a:solidFill>
                  <a:srgbClr val="FF0000"/>
                </a:solidFill>
              </a:rPr>
              <a:t>3 </a:t>
            </a:r>
            <a:r>
              <a:rPr lang="cs-CZ" sz="5700" dirty="0" smtClean="0">
                <a:solidFill>
                  <a:srgbClr val="FF0000"/>
                </a:solidFill>
              </a:rPr>
              <a:t>102</a:t>
            </a:r>
            <a:endParaRPr lang="en-CZ" sz="5700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CZ" sz="5700" dirty="0"/>
              <a:t>Z toho JIP:					</a:t>
            </a:r>
            <a:r>
              <a:rPr lang="cs-CZ" sz="5700" dirty="0" smtClean="0">
                <a:solidFill>
                  <a:srgbClr val="FF0000"/>
                </a:solidFill>
              </a:rPr>
              <a:t>728</a:t>
            </a:r>
            <a:endParaRPr lang="en-CZ" sz="5700" dirty="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UPV: 				 	</a:t>
            </a:r>
            <a:r>
              <a:rPr lang="cs-CZ" sz="5700" dirty="0" smtClean="0">
                <a:solidFill>
                  <a:srgbClr val="FF0000"/>
                </a:solidFill>
              </a:rPr>
              <a:t>359</a:t>
            </a:r>
            <a:r>
              <a:rPr lang="en-CZ" sz="5700" dirty="0" smtClean="0">
                <a:solidFill>
                  <a:srgbClr val="FF0000"/>
                </a:solidFill>
              </a:rPr>
              <a:t>     </a:t>
            </a:r>
            <a:endParaRPr lang="en-CZ" sz="5700" dirty="0">
              <a:solidFill>
                <a:srgbClr val="FF0000"/>
              </a:solidFill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ECMO:				</a:t>
            </a:r>
            <a:r>
              <a:rPr lang="cs-CZ" sz="5700" dirty="0" smtClean="0">
                <a:solidFill>
                  <a:srgbClr val="FF0000"/>
                </a:solidFill>
              </a:rPr>
              <a:t>19</a:t>
            </a:r>
            <a:endParaRPr lang="en-CZ" sz="4700" i="1" dirty="0"/>
          </a:p>
        </p:txBody>
      </p:sp>
      <p:sp>
        <p:nvSpPr>
          <p:cNvPr id="2" name="Šipka dolů 1"/>
          <p:cNvSpPr/>
          <p:nvPr/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7706306" y="2677172"/>
            <a:ext cx="2948709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</a:t>
            </a:r>
            <a:r>
              <a:rPr lang="cs-CZ" sz="2400" b="1" dirty="0" smtClean="0">
                <a:solidFill>
                  <a:prstClr val="white"/>
                </a:solidFill>
                <a:latin typeface="Calibri" panose="020F0502020204030204"/>
              </a:rPr>
              <a:t>28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. 2021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prava 5"/>
          <p:cNvSpPr/>
          <p:nvPr/>
        </p:nvSpPr>
        <p:spPr>
          <a:xfrm rot="5400000">
            <a:off x="9986683" y="3433482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Šipka doprava 6"/>
          <p:cNvSpPr/>
          <p:nvPr/>
        </p:nvSpPr>
        <p:spPr>
          <a:xfrm rot="5400000">
            <a:off x="9368118" y="4240305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Šipka doprava 7"/>
          <p:cNvSpPr/>
          <p:nvPr/>
        </p:nvSpPr>
        <p:spPr>
          <a:xfrm rot="5400000">
            <a:off x="9368117" y="510386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066807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 smtClean="0"/>
              <a:t>Testy u dětí obecně</a:t>
            </a:r>
          </a:p>
          <a:p>
            <a:r>
              <a:rPr lang="cs-CZ" sz="4000" b="1" dirty="0" smtClean="0"/>
              <a:t>Souhrnné </a:t>
            </a:r>
            <a:r>
              <a:rPr lang="cs-CZ" sz="4000" b="1" dirty="0"/>
              <a:t>výsledky testů ze škol </a:t>
            </a:r>
            <a:endParaRPr lang="cs-CZ" sz="4000" b="1" i="1" dirty="0"/>
          </a:p>
        </p:txBody>
      </p:sp>
    </p:spTree>
    <p:extLst>
      <p:ext uri="{BB962C8B-B14F-4D97-AF65-F5344CB8AC3E}">
        <p14:creationId xmlns:p14="http://schemas.microsoft.com/office/powerpoint/2010/main" val="1781632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ve školách – průběžné výsledky (dle CFA) II </a:t>
            </a: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263825" y="1187288"/>
          <a:ext cx="11657891" cy="1645920"/>
        </p:xfrm>
        <a:graphic>
          <a:graphicData uri="http://schemas.openxmlformats.org/drawingml/2006/table">
            <a:tbl>
              <a:tblPr/>
              <a:tblGrid>
                <a:gridCol w="1434913">
                  <a:extLst>
                    <a:ext uri="{9D8B030D-6E8A-4147-A177-3AD203B41FA5}">
                      <a16:colId xmlns:a16="http://schemas.microsoft.com/office/drawing/2014/main" val="661560722"/>
                    </a:ext>
                  </a:extLst>
                </a:gridCol>
                <a:gridCol w="1649506">
                  <a:extLst>
                    <a:ext uri="{9D8B030D-6E8A-4147-A177-3AD203B41FA5}">
                      <a16:colId xmlns:a16="http://schemas.microsoft.com/office/drawing/2014/main" val="2506814337"/>
                    </a:ext>
                  </a:extLst>
                </a:gridCol>
                <a:gridCol w="1461247">
                  <a:extLst>
                    <a:ext uri="{9D8B030D-6E8A-4147-A177-3AD203B41FA5}">
                      <a16:colId xmlns:a16="http://schemas.microsoft.com/office/drawing/2014/main" val="215986214"/>
                    </a:ext>
                  </a:extLst>
                </a:gridCol>
                <a:gridCol w="1756853">
                  <a:extLst>
                    <a:ext uri="{9D8B030D-6E8A-4147-A177-3AD203B41FA5}">
                      <a16:colId xmlns:a16="http://schemas.microsoft.com/office/drawing/2014/main" val="571367351"/>
                    </a:ext>
                  </a:extLst>
                </a:gridCol>
                <a:gridCol w="1575630">
                  <a:extLst>
                    <a:ext uri="{9D8B030D-6E8A-4147-A177-3AD203B41FA5}">
                      <a16:colId xmlns:a16="http://schemas.microsoft.com/office/drawing/2014/main" val="361299477"/>
                    </a:ext>
                  </a:extLst>
                </a:gridCol>
                <a:gridCol w="1611037">
                  <a:extLst>
                    <a:ext uri="{9D8B030D-6E8A-4147-A177-3AD203B41FA5}">
                      <a16:colId xmlns:a16="http://schemas.microsoft.com/office/drawing/2014/main" val="604021784"/>
                    </a:ext>
                  </a:extLst>
                </a:gridCol>
                <a:gridCol w="1847659">
                  <a:extLst>
                    <a:ext uri="{9D8B030D-6E8A-4147-A177-3AD203B41FA5}">
                      <a16:colId xmlns:a16="http://schemas.microsoft.com/office/drawing/2014/main" val="3985373225"/>
                    </a:ext>
                  </a:extLst>
                </a:gridCol>
                <a:gridCol w="321046">
                  <a:extLst>
                    <a:ext uri="{9D8B030D-6E8A-4147-A177-3AD203B41FA5}">
                      <a16:colId xmlns:a16="http://schemas.microsoft.com/office/drawing/2014/main" val="2540171068"/>
                    </a:ext>
                  </a:extLst>
                </a:gridCol>
              </a:tblGrid>
              <a:tr h="509394">
                <a:tc>
                  <a:txBody>
                    <a:bodyPr/>
                    <a:lstStyle/>
                    <a:p>
                      <a:pPr algn="ctr"/>
                      <a:endParaRPr lang="cs-CZ" dirty="0">
                        <a:effectLst/>
                      </a:endParaRPr>
                    </a:p>
                  </a:txBody>
                  <a:tcPr marL="44450" marR="4445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Testovaných </a:t>
                      </a:r>
                    </a:p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žák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Pozitivních žáků 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Neprůkazných testů žák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Testovaných zaměstnanc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Pozitivních zaměstnanc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Neprůkazných testů zaměstnanc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4668919"/>
                  </a:ext>
                </a:extLst>
              </a:tr>
              <a:tr h="33616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.04.2021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2 78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 17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0 39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 97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8919800"/>
                  </a:ext>
                </a:extLst>
              </a:tr>
              <a:tr h="33616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.04.2021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 27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5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 16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8076232"/>
                  </a:ext>
                </a:extLst>
              </a:tr>
              <a:tr h="33616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 081 01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 05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2 77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94 84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8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 35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8769142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9A4947F5-464F-4453-9351-29376ED139D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0" y="747481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27.4.2021 14:14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4088919" y="3438377"/>
            <a:ext cx="2111116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81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57 záchytů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Šipka doprava 4"/>
          <p:cNvSpPr/>
          <p:nvPr/>
        </p:nvSpPr>
        <p:spPr>
          <a:xfrm>
            <a:off x="6970139" y="3629004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8262310" y="3413670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50 záchytů na 100tis. testů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441741" y="3544349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ĚTI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ovéPole 9"/>
          <p:cNvSpPr txBox="1"/>
          <p:nvPr/>
        </p:nvSpPr>
        <p:spPr>
          <a:xfrm>
            <a:off x="4088919" y="5100400"/>
            <a:ext cx="2111116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94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86 záchytů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prava 10"/>
          <p:cNvSpPr/>
          <p:nvPr/>
        </p:nvSpPr>
        <p:spPr>
          <a:xfrm>
            <a:off x="6970139" y="5291027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11"/>
          <p:cNvSpPr txBox="1"/>
          <p:nvPr/>
        </p:nvSpPr>
        <p:spPr>
          <a:xfrm>
            <a:off x="8262310" y="5075693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55 záchytů na 100tis. testů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/>
        </p:nvSpPr>
        <p:spPr>
          <a:xfrm>
            <a:off x="441741" y="5206372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městnanci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951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47623" y="1883486"/>
            <a:ext cx="11820525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ka založená pouze na AG testech přispívá u dětí ve věku 5 – 11 let k cca 2 - 5% celkových pozitivních záchytů. V této věkové kategorii dětí je očekávatelně zaznamenán významně nižší podíl symptomatických pacientů než v celkové populaci, cca do 35%.  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echny pozitivně potvrzené případy jsou šetřeny epidemiology na KHS. Tyto záznamy umožňují odlišit děti pravděpodobně nakažené v souvislosti se školní docházkou.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292230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itivní testy dětí navštěvujících školy jsou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naprosté většině verifikovány pomocí PCR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88513" y="310329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1219701" y="637239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84275" y="5158990"/>
            <a:ext cx="3822560" cy="1107996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 sledované období bylo celkem zachyceno 2 998 nákaz u dětí ve věku 5 – 11 let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ovéPole 11"/>
          <p:cNvSpPr txBox="1"/>
          <p:nvPr/>
        </p:nvSpPr>
        <p:spPr>
          <a:xfrm>
            <a:off x="4220174" y="5328268"/>
            <a:ext cx="3231823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y ve školách potvrdily 1 057 záchytů nákazy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/>
        </p:nvSpPr>
        <p:spPr>
          <a:xfrm>
            <a:off x="7852528" y="5205031"/>
            <a:ext cx="4339472" cy="110799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šetření indikovala 657 nákaz pravděpodobně souvisejících se školním kolektivem 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Šipka dolů 13"/>
          <p:cNvSpPr/>
          <p:nvPr/>
        </p:nvSpPr>
        <p:spPr>
          <a:xfrm>
            <a:off x="5060230" y="637239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Šipka dolů 14"/>
          <p:cNvSpPr/>
          <p:nvPr/>
        </p:nvSpPr>
        <p:spPr>
          <a:xfrm>
            <a:off x="9246409" y="637239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819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dirty="0"/>
              <a:t>5</a:t>
            </a:r>
            <a:r>
              <a:rPr lang="cs-CZ" dirty="0"/>
              <a:t>-1</a:t>
            </a:r>
            <a:r>
              <a:rPr lang="en-US" dirty="0"/>
              <a:t>1</a:t>
            </a:r>
            <a:r>
              <a:rPr lang="cs-CZ" dirty="0"/>
              <a:t> let mezi 12.4-2</a:t>
            </a:r>
            <a:r>
              <a:rPr lang="en-US" dirty="0"/>
              <a:t>7</a:t>
            </a:r>
            <a:r>
              <a:rPr lang="cs-CZ" dirty="0"/>
              <a:t>.4.2021 v ISIN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719486" y="1581994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 998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2 848 (95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897 (29.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1 951 (65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50 (5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76 (2.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74 (2.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3921" y="812382"/>
            <a:ext cx="590738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zitivní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y u dětí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4. – 27.4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y: </a:t>
            </a:r>
            <a:r>
              <a:rPr kumimoji="0" lang="en-US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pulace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54989" y="1883129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87065" y="2395523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87065" y="2395523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87065" y="4037188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87065" y="4037189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54989" y="18291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67967" y="289552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67967" y="343863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87065" y="39831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67967" y="454234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67967" y="507249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87065" y="234152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54989" y="1883129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CD65A0-5873-4857-BF4E-14496FC5AB8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/>
          </p:nvPr>
        </p:nvGraphicFramePr>
        <p:xfrm>
          <a:off x="6522784" y="1581994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657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645 (98.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211 (32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434 (66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2 (1.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2 (0.3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10 (1.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CEBEF2F5-AB47-4FCA-99E0-CF4FC2891E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967219" y="812382"/>
            <a:ext cx="58256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zitivní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y u dětí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4. – 27.4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a pravděpodobně ve škol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BF932EB-B902-4811-A3F3-6DDDF237D021}"/>
              </a:ext>
            </a:extLst>
          </p:cNvPr>
          <p:cNvCxnSpPr>
            <a:cxnSpLocks/>
            <a:stCxn id="47" idx="2"/>
            <a:endCxn id="50" idx="2"/>
          </p:cNvCxnSpPr>
          <p:nvPr/>
        </p:nvCxnSpPr>
        <p:spPr>
          <a:xfrm rot="10800000" flipH="1" flipV="1">
            <a:off x="6358287" y="1883129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11575C7-FE51-4E5C-BAFA-A111E6EBD5A6}"/>
              </a:ext>
            </a:extLst>
          </p:cNvPr>
          <p:cNvCxnSpPr>
            <a:cxnSpLocks/>
            <a:stCxn id="53" idx="2"/>
            <a:endCxn id="48" idx="2"/>
          </p:cNvCxnSpPr>
          <p:nvPr/>
        </p:nvCxnSpPr>
        <p:spPr>
          <a:xfrm rot="10800000" flipH="1" flipV="1">
            <a:off x="6690363" y="2395523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FA1F7F8-16D4-4858-BCA8-9A302AF7A522}"/>
              </a:ext>
            </a:extLst>
          </p:cNvPr>
          <p:cNvCxnSpPr>
            <a:cxnSpLocks/>
            <a:stCxn id="53" idx="2"/>
            <a:endCxn id="49" idx="2"/>
          </p:cNvCxnSpPr>
          <p:nvPr/>
        </p:nvCxnSpPr>
        <p:spPr>
          <a:xfrm rot="10800000" flipH="1" flipV="1">
            <a:off x="6690363" y="2395523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FF9D491-E609-4E6C-8E85-9CA6F385FD5A}"/>
              </a:ext>
            </a:extLst>
          </p:cNvPr>
          <p:cNvCxnSpPr>
            <a:cxnSpLocks/>
            <a:stCxn id="50" idx="2"/>
            <a:endCxn id="51" idx="2"/>
          </p:cNvCxnSpPr>
          <p:nvPr/>
        </p:nvCxnSpPr>
        <p:spPr>
          <a:xfrm rot="10800000" flipH="1" flipV="1">
            <a:off x="6690363" y="4037188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D626E197-0824-45A8-B593-A89931ED9C58}"/>
              </a:ext>
            </a:extLst>
          </p:cNvPr>
          <p:cNvCxnSpPr>
            <a:cxnSpLocks/>
            <a:stCxn id="50" idx="2"/>
            <a:endCxn id="52" idx="2"/>
          </p:cNvCxnSpPr>
          <p:nvPr/>
        </p:nvCxnSpPr>
        <p:spPr>
          <a:xfrm rot="10800000" flipH="1" flipV="1">
            <a:off x="6690363" y="4037189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09DFE20-1CAE-4971-A08F-DBD502E8DEEE}"/>
              </a:ext>
            </a:extLst>
          </p:cNvPr>
          <p:cNvSpPr/>
          <p:nvPr/>
        </p:nvSpPr>
        <p:spPr>
          <a:xfrm>
            <a:off x="6358287" y="18291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A457C35-A674-4C67-9256-A231FDB261A2}"/>
              </a:ext>
            </a:extLst>
          </p:cNvPr>
          <p:cNvSpPr/>
          <p:nvPr/>
        </p:nvSpPr>
        <p:spPr>
          <a:xfrm>
            <a:off x="7171265" y="289552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F876611-9209-4AAB-B85E-5458C290562F}"/>
              </a:ext>
            </a:extLst>
          </p:cNvPr>
          <p:cNvSpPr/>
          <p:nvPr/>
        </p:nvSpPr>
        <p:spPr>
          <a:xfrm>
            <a:off x="7171265" y="343863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29B7EAB-5520-410B-91BC-002D2FB8118A}"/>
              </a:ext>
            </a:extLst>
          </p:cNvPr>
          <p:cNvSpPr/>
          <p:nvPr/>
        </p:nvSpPr>
        <p:spPr>
          <a:xfrm>
            <a:off x="6690363" y="39831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94490D-1E26-4D77-86B6-29DF0CE78D61}"/>
              </a:ext>
            </a:extLst>
          </p:cNvPr>
          <p:cNvSpPr/>
          <p:nvPr/>
        </p:nvSpPr>
        <p:spPr>
          <a:xfrm>
            <a:off x="7171265" y="454234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43EDF7-BE0D-42CE-87AE-45C6C4EBB8DA}"/>
              </a:ext>
            </a:extLst>
          </p:cNvPr>
          <p:cNvSpPr/>
          <p:nvPr/>
        </p:nvSpPr>
        <p:spPr>
          <a:xfrm>
            <a:off x="7171265" y="507249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2A0847-F895-4FF7-B901-5DCDFBBF5405}"/>
              </a:ext>
            </a:extLst>
          </p:cNvPr>
          <p:cNvSpPr/>
          <p:nvPr/>
        </p:nvSpPr>
        <p:spPr>
          <a:xfrm>
            <a:off x="6690363" y="234152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D4B96BC-E68B-450D-A497-DAE9BBF44946}"/>
              </a:ext>
            </a:extLst>
          </p:cNvPr>
          <p:cNvCxnSpPr>
            <a:cxnSpLocks/>
            <a:stCxn id="47" idx="2"/>
            <a:endCxn id="53" idx="2"/>
          </p:cNvCxnSpPr>
          <p:nvPr/>
        </p:nvCxnSpPr>
        <p:spPr>
          <a:xfrm rot="10800000" flipH="1" flipV="1">
            <a:off x="6358287" y="1883129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268590" y="6106844"/>
            <a:ext cx="53182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veden kolektiv ŠKOLA, v trasování jde o primární případy (nejsou uvedeny jako kontakt jiného pozitivního případu)</a:t>
            </a:r>
          </a:p>
        </p:txBody>
      </p:sp>
    </p:spTree>
    <p:extLst>
      <p:ext uri="{BB962C8B-B14F-4D97-AF65-F5344CB8AC3E}">
        <p14:creationId xmlns:p14="http://schemas.microsoft.com/office/powerpoint/2010/main" val="3068150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nově COVID-19 pozitivních na 100 testů u dětí v čase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1582045" y="4036966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2660460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pozitivních na 100 testů v dané věkové skupině za dané časové období (suma za celý časový úsek)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rot="16200000">
            <a:off x="-93415" y="5073014"/>
            <a:ext cx="26103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emiologick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é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testy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30" name="Graf 16">
            <a:extLst>
              <a:ext uri="{FF2B5EF4-FFF2-40B4-BE49-F238E27FC236}">
                <a16:creationId xmlns:a16="http://schemas.microsoft.com/office/drawing/2014/main" id="{10C3084D-41AD-411C-A93F-6721A988F3AC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4960572" y="4036966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31" name="Graf 16">
            <a:extLst>
              <a:ext uri="{FF2B5EF4-FFF2-40B4-BE49-F238E27FC236}">
                <a16:creationId xmlns:a16="http://schemas.microsoft.com/office/drawing/2014/main" id="{63585171-E8A3-40F8-BB32-EB7AC37C09A3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8562717" y="4036966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 rot="16200000">
            <a:off x="143616" y="1803156"/>
            <a:ext cx="20553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iagnostické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testy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14"/>
            </p:custDataLst>
            <p:extLst/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18" name="Graf 16">
            <a:extLst>
              <a:ext uri="{FF2B5EF4-FFF2-40B4-BE49-F238E27FC236}">
                <a16:creationId xmlns:a16="http://schemas.microsoft.com/office/drawing/2014/main" id="{A42815AE-99C9-4C50-884D-5C9A82EF8B2E}"/>
              </a:ext>
            </a:extLst>
          </p:cNvPr>
          <p:cNvGraphicFramePr/>
          <p:nvPr>
            <p:custDataLst>
              <p:tags r:id="rId15"/>
            </p:custDataLst>
            <p:extLst/>
          </p:nvPr>
        </p:nvGraphicFramePr>
        <p:xfrm>
          <a:off x="4894275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21" name="Graf 16">
            <a:extLst>
              <a:ext uri="{FF2B5EF4-FFF2-40B4-BE49-F238E27FC236}">
                <a16:creationId xmlns:a16="http://schemas.microsoft.com/office/drawing/2014/main" id="{E3A3B326-E571-4A89-B46A-1E72DF5B277C}"/>
              </a:ext>
            </a:extLst>
          </p:cNvPr>
          <p:cNvGraphicFramePr/>
          <p:nvPr>
            <p:custDataLst>
              <p:tags r:id="rId16"/>
            </p:custDataLst>
            <p:extLst/>
          </p:nvPr>
        </p:nvGraphicFramePr>
        <p:xfrm>
          <a:off x="8496420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556F3BC7-D69A-44BA-A60E-ECB8958CDF9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3753337" y="2177008"/>
            <a:ext cx="672788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4.5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B7BD604-D09D-415A-B5AE-244065372471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126731" y="2301940"/>
            <a:ext cx="672788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2.8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94C172E-A422-484B-85E8-16CA0CBC824E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0747261" y="2388438"/>
            <a:ext cx="672788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3.7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489F987-50BC-46B9-9DEE-27F8C150A5E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3774608" y="4957297"/>
            <a:ext cx="672788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5.3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EBE4F32-1FA0-4302-8F42-B9F4F1F2AC6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7151435" y="5384944"/>
            <a:ext cx="672788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1.5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D034121-63D8-407B-8120-2F43AECDF509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10747261" y="5369985"/>
            <a:ext cx="672788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2.4%</a:t>
            </a:r>
          </a:p>
        </p:txBody>
      </p:sp>
    </p:spTree>
    <p:extLst>
      <p:ext uri="{BB962C8B-B14F-4D97-AF65-F5344CB8AC3E}">
        <p14:creationId xmlns:p14="http://schemas.microsoft.com/office/powerpoint/2010/main" val="1995158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1392507" y="1411624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56BE7CCB-72FB-4FD9-853A-D05AEC7FC53A}"/>
              </a:ext>
            </a:extLst>
          </p:cNvPr>
          <p:cNvSpPr/>
          <p:nvPr/>
        </p:nvSpPr>
        <p:spPr>
          <a:xfrm>
            <a:off x="1831583" y="1542954"/>
            <a:ext cx="204105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1.12. do 3.1. vánoční školní prázdniny</a:t>
            </a:r>
            <a:endParaRPr kumimoji="0" lang="cs-CZ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E8EB343B-FF9D-4901-9D18-93F29BAC2468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2026069" y="2019626"/>
            <a:ext cx="0" cy="129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654407" y="1619642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6D42FF0-6565-403F-B660-2326C9C9049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852108" y="2085115"/>
            <a:ext cx="321183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4. 1. pokračuje výuk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1. a 2. třídách, přípravných třídách a  speciálních, mateřských školách a praktických školách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5FF670A9-C78E-4ED3-A53F-0C6026BEF7F3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2765968" y="2636762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/>
        </p:nvCxnSpPr>
        <p:spPr>
          <a:xfrm>
            <a:off x="6519273" y="2223492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13076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ětí.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stování po 12.4. zastavilo pokles u dětí mladších než 11 let, nedochází ale k eskalaci a nárůst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903700" y="2763492"/>
            <a:ext cx="211700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postupný návrat </a:t>
            </a:r>
            <a:r>
              <a:rPr kumimoji="0" lang="cs-CZ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žších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čníků ZŠ, rotační systém</a:t>
            </a: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/>
        </p:nvCxnSpPr>
        <p:spPr>
          <a:xfrm>
            <a:off x="8962200" y="3477531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/>
          <p:cNvCxnSpPr/>
          <p:nvPr/>
        </p:nvCxnSpPr>
        <p:spPr>
          <a:xfrm flipV="1">
            <a:off x="1840209" y="5348377"/>
            <a:ext cx="8269949" cy="8627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5831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3599024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4.</a:t>
            </a:r>
            <a:r>
              <a:rPr lang="en-US" sz="2000" dirty="0">
                <a:latin typeface="+mn-lt"/>
              </a:rPr>
              <a:t>: 5-11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5037332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709437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.4.2021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497709" y="2546850"/>
            <a:ext cx="3574211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írný nárůst počtu nově nakažených dětí ve věku 5 – 11 let je mezi 13.4. a 26.4. registrován pouze ve Zlínském kraji. 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gnace v těchto počtech je patrná v Moravskoslezském a Jihomoravském kraji. Ostatní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y v tomto ukazateli klesají. </a:t>
            </a:r>
          </a:p>
        </p:txBody>
      </p:sp>
    </p:spTree>
    <p:extLst>
      <p:ext uri="{BB962C8B-B14F-4D97-AF65-F5344CB8AC3E}">
        <p14:creationId xmlns:p14="http://schemas.microsoft.com/office/powerpoint/2010/main" val="3348714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Vývoj počtu, struktury a výtěžnosti testů </a:t>
            </a:r>
          </a:p>
          <a:p>
            <a:r>
              <a:rPr lang="cs-CZ" sz="4000" b="1" dirty="0"/>
              <a:t>na COVID-19 v souvislosti s testováním </a:t>
            </a:r>
          </a:p>
          <a:p>
            <a:r>
              <a:rPr lang="cs-CZ" sz="4000" b="1" dirty="0"/>
              <a:t>ve firmách, podnicích a institucích </a:t>
            </a:r>
            <a:endParaRPr lang="cs-CZ" sz="4000" b="1" i="1" dirty="0"/>
          </a:p>
        </p:txBody>
      </p:sp>
    </p:spTree>
    <p:extLst>
      <p:ext uri="{BB962C8B-B14F-4D97-AF65-F5344CB8AC3E}">
        <p14:creationId xmlns:p14="http://schemas.microsoft.com/office/powerpoint/2010/main" val="1142673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28575" y="1910183"/>
            <a:ext cx="1182052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3 000 denně. Stále klesá relativní pozitivita testů. Významný je i pokles nově nakažených potenciálně zranitelných skupin obyvatel. Reprodukční číslo osciluje mezi 0,70 – 0,90. Pokles je patrný u všech věkových kategorií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tím se na celorepublikových datech neprojevuje negativní efekt změn po 12.4. Avšak stále existují značné rozdíly mezi regiony.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zpomaluje, klesá počet nových případů onemocnění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098038" y="474391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5182032" y="6383897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11515725" y="5533849"/>
            <a:ext cx="5429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</a:p>
        </p:txBody>
      </p:sp>
      <p:sp>
        <p:nvSpPr>
          <p:cNvPr id="11" name="TextovéPole 10"/>
          <p:cNvSpPr txBox="1"/>
          <p:nvPr/>
        </p:nvSpPr>
        <p:spPr>
          <a:xfrm>
            <a:off x="-72734" y="5533850"/>
            <a:ext cx="5429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9239564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186E489-6845-448B-BC3C-B4E1997D2DE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131716" cy="576000"/>
          </a:xfrm>
        </p:spPr>
        <p:txBody>
          <a:bodyPr/>
          <a:lstStyle/>
          <a:p>
            <a:r>
              <a:rPr lang="cs-CZ" dirty="0"/>
              <a:t>Počet provedených a vykázaných AG testů v ČR 1. 2. – 24. </a:t>
            </a:r>
            <a:r>
              <a:rPr lang="en-US" dirty="0"/>
              <a:t>4</a:t>
            </a:r>
            <a:r>
              <a:rPr lang="cs-CZ" dirty="0"/>
              <a:t>. 2021</a:t>
            </a:r>
          </a:p>
        </p:txBody>
      </p:sp>
      <p:graphicFrame>
        <p:nvGraphicFramePr>
          <p:cNvPr id="6" name="Chart 4">
            <a:extLst>
              <a:ext uri="{FF2B5EF4-FFF2-40B4-BE49-F238E27FC236}">
                <a16:creationId xmlns:a16="http://schemas.microsoft.com/office/drawing/2014/main" id="{12707528-8D16-4544-A281-753E5E83B9C7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192075" y="3171568"/>
          <a:ext cx="11877772" cy="3686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5" name="TextovéPole 34">
            <a:extLst>
              <a:ext uri="{FF2B5EF4-FFF2-40B4-BE49-F238E27FC236}">
                <a16:creationId xmlns:a16="http://schemas.microsoft.com/office/drawing/2014/main" id="{9F7EB234-FAA1-4E79-B1D4-09B44196FE8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38941" y="807449"/>
            <a:ext cx="108811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rovedených AG testů silně narostl zejména po 1.3.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 a dále je v čase stabilní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234CC73F-E009-4BE1-95D0-138BD2AB377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997232" y="2702359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BFC87D26-CD8F-4C5F-9ADF-4D695F01515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67842" y="2740066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715AE362-0C45-4C5D-9D18-4BA83228C96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120700" y="2702359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0C990C7D-C129-4DE4-9DF3-B466C23CEFB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153921" y="2702446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F816139-797E-4D7D-B7CA-C1D0C58F362B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/>
          </p:nvPr>
        </p:nvGraphicFramePr>
        <p:xfrm>
          <a:off x="821723" y="1368526"/>
          <a:ext cx="10515598" cy="1318260"/>
        </p:xfrm>
        <a:graphic>
          <a:graphicData uri="http://schemas.openxmlformats.org/drawingml/2006/table">
            <a:tbl>
              <a:tblPr/>
              <a:tblGrid>
                <a:gridCol w="784746">
                  <a:extLst>
                    <a:ext uri="{9D8B030D-6E8A-4147-A177-3AD203B41FA5}">
                      <a16:colId xmlns:a16="http://schemas.microsoft.com/office/drawing/2014/main" val="2858040347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277427838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2789907185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2660301241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3075066792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2936262364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4153083990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328389790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3158500584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3652100190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3088191732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2300124037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3981172171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1293711970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3485570029"/>
                    </a:ext>
                  </a:extLst>
                </a:gridCol>
              </a:tblGrid>
              <a:tr h="433977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341471"/>
                  </a:ext>
                </a:extLst>
              </a:tr>
              <a:tr h="240357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 3.–27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3.–3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4.–10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4.–17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4.–24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9455309"/>
                  </a:ext>
                </a:extLst>
              </a:tr>
              <a:tr h="267063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 18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 35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 69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 79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 68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8775512"/>
                  </a:ext>
                </a:extLst>
              </a:tr>
              <a:tr h="26038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,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,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4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9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01620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57552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186E489-6845-448B-BC3C-B4E1997D2DE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789970" cy="576000"/>
          </a:xfrm>
        </p:spPr>
        <p:txBody>
          <a:bodyPr/>
          <a:lstStyle/>
          <a:p>
            <a:r>
              <a:rPr lang="cs-CZ" dirty="0"/>
              <a:t>Počet provedených a vykázaných PCR testů v ČR 1. 2. – 24. </a:t>
            </a:r>
            <a:r>
              <a:rPr lang="en-US" dirty="0"/>
              <a:t>4</a:t>
            </a:r>
            <a:r>
              <a:rPr lang="cs-CZ" dirty="0"/>
              <a:t>. 2021</a:t>
            </a:r>
          </a:p>
        </p:txBody>
      </p:sp>
      <p:graphicFrame>
        <p:nvGraphicFramePr>
          <p:cNvPr id="6" name="Chart 4">
            <a:extLst>
              <a:ext uri="{FF2B5EF4-FFF2-40B4-BE49-F238E27FC236}">
                <a16:creationId xmlns:a16="http://schemas.microsoft.com/office/drawing/2014/main" id="{12707528-8D16-4544-A281-753E5E83B9C7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192075" y="3171568"/>
          <a:ext cx="11877772" cy="3686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5" name="TextovéPole 34">
            <a:extLst>
              <a:ext uri="{FF2B5EF4-FFF2-40B4-BE49-F238E27FC236}">
                <a16:creationId xmlns:a16="http://schemas.microsoft.com/office/drawing/2014/main" id="{9F7EB234-FAA1-4E79-B1D4-09B44196FE8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92075" y="755977"/>
            <a:ext cx="117331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rovedených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R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stupně klesá – klesají klinicky indikované testy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234CC73F-E009-4BE1-95D0-138BD2AB377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997232" y="2628470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BFC87D26-CD8F-4C5F-9ADF-4D695F01515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67842" y="2628470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715AE362-0C45-4C5D-9D18-4BA83228C96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120700" y="2628470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0C990C7D-C129-4DE4-9DF3-B466C23CEFB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153921" y="2628557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F2C0711-8C50-4456-B704-D724440C868B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/>
          </p:nvPr>
        </p:nvGraphicFramePr>
        <p:xfrm>
          <a:off x="838203" y="1300807"/>
          <a:ext cx="10515594" cy="1318260"/>
        </p:xfrm>
        <a:graphic>
          <a:graphicData uri="http://schemas.openxmlformats.org/drawingml/2006/table">
            <a:tbl>
              <a:tblPr/>
              <a:tblGrid>
                <a:gridCol w="764109">
                  <a:extLst>
                    <a:ext uri="{9D8B030D-6E8A-4147-A177-3AD203B41FA5}">
                      <a16:colId xmlns:a16="http://schemas.microsoft.com/office/drawing/2014/main" val="2943782384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2443191312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2330795336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1947145909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1647294438"/>
                    </a:ext>
                  </a:extLst>
                </a:gridCol>
                <a:gridCol w="887822">
                  <a:extLst>
                    <a:ext uri="{9D8B030D-6E8A-4147-A177-3AD203B41FA5}">
                      <a16:colId xmlns:a16="http://schemas.microsoft.com/office/drawing/2014/main" val="1932661436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2923486181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1190087719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3272375174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3833856480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813885384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3512162905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2101902586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1500996675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1344922959"/>
                    </a:ext>
                  </a:extLst>
                </a:gridCol>
              </a:tblGrid>
              <a:tr h="421056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950285"/>
                  </a:ext>
                </a:extLst>
              </a:tr>
              <a:tr h="23320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 3.–27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3.–3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4.–10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4.–17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4.–24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1344928"/>
                  </a:ext>
                </a:extLst>
              </a:tr>
              <a:tr h="259111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80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44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76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99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98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4835683"/>
                  </a:ext>
                </a:extLst>
              </a:tr>
              <a:tr h="25263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8,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8,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,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,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1699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06010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995" y="39452"/>
            <a:ext cx="9856460" cy="576000"/>
          </a:xfrm>
        </p:spPr>
        <p:txBody>
          <a:bodyPr/>
          <a:lstStyle/>
          <a:p>
            <a:r>
              <a:rPr lang="cs-CZ" dirty="0"/>
              <a:t>Počty pozitivních případů nově diagnostikovaných v březnu dle typu testu </a:t>
            </a:r>
          </a:p>
        </p:txBody>
      </p:sp>
      <p:graphicFrame>
        <p:nvGraphicFramePr>
          <p:cNvPr id="34" name="Table 58">
            <a:extLst>
              <a:ext uri="{FF2B5EF4-FFF2-40B4-BE49-F238E27FC236}">
                <a16:creationId xmlns:a16="http://schemas.microsoft.com/office/drawing/2014/main" id="{80995D50-4776-4506-93F8-6BD71CF7EDD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489966" y="1628213"/>
          <a:ext cx="5541866" cy="4351344"/>
        </p:xfrm>
        <a:graphic>
          <a:graphicData uri="http://schemas.openxmlformats.org/drawingml/2006/table">
            <a:tbl>
              <a:tblPr/>
              <a:tblGrid>
                <a:gridCol w="554186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99 441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243 807 (81,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7641322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symptomatičtí N = 142 100 (47,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6734207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101 707 (34,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57267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55 634 (18,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637028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</a:t>
                      </a:r>
                      <a:r>
                        <a:rPr lang="de-D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mptomatičtí</a:t>
                      </a:r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N = 32 029 (10,7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161272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881476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23 605 (7,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9248792"/>
                  </a:ext>
                </a:extLst>
              </a:tr>
            </a:tbl>
          </a:graphicData>
        </a:graphic>
      </p:graphicFrame>
      <p:sp>
        <p:nvSpPr>
          <p:cNvPr id="38" name="TextBox 59">
            <a:extLst>
              <a:ext uri="{FF2B5EF4-FFF2-40B4-BE49-F238E27FC236}">
                <a16:creationId xmlns:a16="http://schemas.microsoft.com/office/drawing/2014/main" id="{9602BDD7-27C5-406C-B27E-8A4113784C2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31986" y="801988"/>
            <a:ext cx="318869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zitivní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y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3. –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3. </a:t>
            </a:r>
          </a:p>
        </p:txBody>
      </p:sp>
      <p:cxnSp>
        <p:nvCxnSpPr>
          <p:cNvPr id="39" name="Connector: Elbow 60">
            <a:extLst>
              <a:ext uri="{FF2B5EF4-FFF2-40B4-BE49-F238E27FC236}">
                <a16:creationId xmlns:a16="http://schemas.microsoft.com/office/drawing/2014/main" id="{1273C70C-BF3A-479C-B97D-041BD72A5FE6}"/>
              </a:ext>
            </a:extLst>
          </p:cNvPr>
          <p:cNvCxnSpPr>
            <a:cxnSpLocks/>
            <a:stCxn id="44" idx="2"/>
            <a:endCxn id="47" idx="2"/>
          </p:cNvCxnSpPr>
          <p:nvPr/>
        </p:nvCxnSpPr>
        <p:spPr>
          <a:xfrm rot="10800000" flipH="1" flipV="1">
            <a:off x="381966" y="1934677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Elbow 61">
            <a:extLst>
              <a:ext uri="{FF2B5EF4-FFF2-40B4-BE49-F238E27FC236}">
                <a16:creationId xmlns:a16="http://schemas.microsoft.com/office/drawing/2014/main" id="{4619065E-C70A-4F46-9B4D-FF45C6BF4C7C}"/>
              </a:ext>
            </a:extLst>
          </p:cNvPr>
          <p:cNvCxnSpPr>
            <a:cxnSpLocks/>
            <a:stCxn id="50" idx="2"/>
            <a:endCxn id="45" idx="2"/>
          </p:cNvCxnSpPr>
          <p:nvPr/>
        </p:nvCxnSpPr>
        <p:spPr>
          <a:xfrm rot="10800000" flipH="1" flipV="1">
            <a:off x="714042" y="2447071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or: Elbow 62">
            <a:extLst>
              <a:ext uri="{FF2B5EF4-FFF2-40B4-BE49-F238E27FC236}">
                <a16:creationId xmlns:a16="http://schemas.microsoft.com/office/drawing/2014/main" id="{FC802AFD-2BC8-4452-896A-26E5308DB656}"/>
              </a:ext>
            </a:extLst>
          </p:cNvPr>
          <p:cNvCxnSpPr>
            <a:cxnSpLocks/>
            <a:stCxn id="50" idx="2"/>
            <a:endCxn id="46" idx="2"/>
          </p:cNvCxnSpPr>
          <p:nvPr/>
        </p:nvCxnSpPr>
        <p:spPr>
          <a:xfrm rot="10800000" flipH="1" flipV="1">
            <a:off x="714042" y="2447071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Elbow 63">
            <a:extLst>
              <a:ext uri="{FF2B5EF4-FFF2-40B4-BE49-F238E27FC236}">
                <a16:creationId xmlns:a16="http://schemas.microsoft.com/office/drawing/2014/main" id="{9AC63DBA-271D-4D3D-A682-96B3613D4C60}"/>
              </a:ext>
            </a:extLst>
          </p:cNvPr>
          <p:cNvCxnSpPr>
            <a:cxnSpLocks/>
            <a:stCxn id="47" idx="2"/>
            <a:endCxn id="48" idx="2"/>
          </p:cNvCxnSpPr>
          <p:nvPr/>
        </p:nvCxnSpPr>
        <p:spPr>
          <a:xfrm rot="10800000" flipH="1" flipV="1">
            <a:off x="714042" y="4088736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64">
            <a:extLst>
              <a:ext uri="{FF2B5EF4-FFF2-40B4-BE49-F238E27FC236}">
                <a16:creationId xmlns:a16="http://schemas.microsoft.com/office/drawing/2014/main" id="{41A4609A-2730-4987-B1C5-A649D3E346BF}"/>
              </a:ext>
            </a:extLst>
          </p:cNvPr>
          <p:cNvCxnSpPr>
            <a:cxnSpLocks/>
            <a:stCxn id="47" idx="2"/>
            <a:endCxn id="49" idx="2"/>
          </p:cNvCxnSpPr>
          <p:nvPr/>
        </p:nvCxnSpPr>
        <p:spPr>
          <a:xfrm rot="10800000" flipH="1" flipV="1">
            <a:off x="714042" y="4088737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65">
            <a:extLst>
              <a:ext uri="{FF2B5EF4-FFF2-40B4-BE49-F238E27FC236}">
                <a16:creationId xmlns:a16="http://schemas.microsoft.com/office/drawing/2014/main" id="{67AAD94C-4532-4F9B-A342-53990B7830C9}"/>
              </a:ext>
            </a:extLst>
          </p:cNvPr>
          <p:cNvSpPr/>
          <p:nvPr/>
        </p:nvSpPr>
        <p:spPr>
          <a:xfrm>
            <a:off x="381966" y="18806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Oval 66">
            <a:extLst>
              <a:ext uri="{FF2B5EF4-FFF2-40B4-BE49-F238E27FC236}">
                <a16:creationId xmlns:a16="http://schemas.microsoft.com/office/drawing/2014/main" id="{C5B25FD8-2C0B-4F9A-AA9B-E58400588461}"/>
              </a:ext>
            </a:extLst>
          </p:cNvPr>
          <p:cNvSpPr/>
          <p:nvPr/>
        </p:nvSpPr>
        <p:spPr>
          <a:xfrm>
            <a:off x="1194944" y="294706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Oval 67">
            <a:extLst>
              <a:ext uri="{FF2B5EF4-FFF2-40B4-BE49-F238E27FC236}">
                <a16:creationId xmlns:a16="http://schemas.microsoft.com/office/drawing/2014/main" id="{70163B7B-CA20-43C9-BDB5-5CDF0F87660A}"/>
              </a:ext>
            </a:extLst>
          </p:cNvPr>
          <p:cNvSpPr/>
          <p:nvPr/>
        </p:nvSpPr>
        <p:spPr>
          <a:xfrm>
            <a:off x="1194944" y="349018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Oval 68">
            <a:extLst>
              <a:ext uri="{FF2B5EF4-FFF2-40B4-BE49-F238E27FC236}">
                <a16:creationId xmlns:a16="http://schemas.microsoft.com/office/drawing/2014/main" id="{9A694CB3-CDE4-4FC6-A949-BEEC193745E8}"/>
              </a:ext>
            </a:extLst>
          </p:cNvPr>
          <p:cNvSpPr/>
          <p:nvPr/>
        </p:nvSpPr>
        <p:spPr>
          <a:xfrm>
            <a:off x="714042" y="403473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69">
            <a:extLst>
              <a:ext uri="{FF2B5EF4-FFF2-40B4-BE49-F238E27FC236}">
                <a16:creationId xmlns:a16="http://schemas.microsoft.com/office/drawing/2014/main" id="{1842FE78-64A6-4062-88BB-53893E6FD897}"/>
              </a:ext>
            </a:extLst>
          </p:cNvPr>
          <p:cNvSpPr/>
          <p:nvPr/>
        </p:nvSpPr>
        <p:spPr>
          <a:xfrm>
            <a:off x="1194944" y="459389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70">
            <a:extLst>
              <a:ext uri="{FF2B5EF4-FFF2-40B4-BE49-F238E27FC236}">
                <a16:creationId xmlns:a16="http://schemas.microsoft.com/office/drawing/2014/main" id="{94472FCC-90E8-4D11-943B-F13221D595BE}"/>
              </a:ext>
            </a:extLst>
          </p:cNvPr>
          <p:cNvSpPr/>
          <p:nvPr/>
        </p:nvSpPr>
        <p:spPr>
          <a:xfrm>
            <a:off x="1194944" y="512404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71">
            <a:extLst>
              <a:ext uri="{FF2B5EF4-FFF2-40B4-BE49-F238E27FC236}">
                <a16:creationId xmlns:a16="http://schemas.microsoft.com/office/drawing/2014/main" id="{D2C1D709-B145-4522-AC77-3F0FCDCEC69A}"/>
              </a:ext>
            </a:extLst>
          </p:cNvPr>
          <p:cNvSpPr/>
          <p:nvPr/>
        </p:nvSpPr>
        <p:spPr>
          <a:xfrm>
            <a:off x="714042" y="23930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1" name="Connector: Elbow 72">
            <a:extLst>
              <a:ext uri="{FF2B5EF4-FFF2-40B4-BE49-F238E27FC236}">
                <a16:creationId xmlns:a16="http://schemas.microsoft.com/office/drawing/2014/main" id="{A9B6F843-DC6A-477D-BDF3-A6F54EA9C29B}"/>
              </a:ext>
            </a:extLst>
          </p:cNvPr>
          <p:cNvCxnSpPr>
            <a:cxnSpLocks/>
            <a:stCxn id="44" idx="2"/>
            <a:endCxn id="50" idx="2"/>
          </p:cNvCxnSpPr>
          <p:nvPr>
            <p:custDataLst>
              <p:tags r:id="rId3"/>
            </p:custDataLst>
          </p:nvPr>
        </p:nvCxnSpPr>
        <p:spPr>
          <a:xfrm rot="10800000" flipH="1" flipV="1">
            <a:off x="381966" y="1934677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ovéPole 2"/>
          <p:cNvSpPr txBox="1"/>
          <p:nvPr>
            <p:custDataLst>
              <p:tags r:id="rId4"/>
            </p:custDataLst>
          </p:nvPr>
        </p:nvSpPr>
        <p:spPr>
          <a:xfrm>
            <a:off x="1150762" y="6171423"/>
            <a:ext cx="10409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tigenní testy dlouhodobě zachytávají 18 – 20% nově pozitivně diagnostikovaných případů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Záchyt asymptomatických případů AG testy tvoří cca 7 – 9% všech nově diagnostikovaných.</a:t>
            </a:r>
          </a:p>
        </p:txBody>
      </p:sp>
      <p:sp>
        <p:nvSpPr>
          <p:cNvPr id="4" name="Šipka doprava 3"/>
          <p:cNvSpPr/>
          <p:nvPr>
            <p:custDataLst>
              <p:tags r:id="rId5"/>
            </p:custDataLst>
          </p:nvPr>
        </p:nvSpPr>
        <p:spPr>
          <a:xfrm>
            <a:off x="5845118" y="2986943"/>
            <a:ext cx="501764" cy="109310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8D5C9F0F-1641-4BB3-9152-B4638DDC6E9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534666" y="801988"/>
            <a:ext cx="318869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zitivní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y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4. – 23.4. </a:t>
            </a:r>
          </a:p>
        </p:txBody>
      </p:sp>
      <p:cxnSp>
        <p:nvCxnSpPr>
          <p:cNvPr id="22" name="Connector: Elbow 60">
            <a:extLst>
              <a:ext uri="{FF2B5EF4-FFF2-40B4-BE49-F238E27FC236}">
                <a16:creationId xmlns:a16="http://schemas.microsoft.com/office/drawing/2014/main" id="{39568D79-C3D0-4172-8DA4-38F3D48D8D52}"/>
              </a:ext>
            </a:extLst>
          </p:cNvPr>
          <p:cNvCxnSpPr>
            <a:cxnSpLocks/>
            <a:stCxn id="27" idx="2"/>
            <a:endCxn id="30" idx="2"/>
          </p:cNvCxnSpPr>
          <p:nvPr/>
        </p:nvCxnSpPr>
        <p:spPr>
          <a:xfrm rot="10800000" flipH="1" flipV="1">
            <a:off x="6677397" y="1934677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61">
            <a:extLst>
              <a:ext uri="{FF2B5EF4-FFF2-40B4-BE49-F238E27FC236}">
                <a16:creationId xmlns:a16="http://schemas.microsoft.com/office/drawing/2014/main" id="{19F5B9A6-0C94-4167-A7E5-1ED959533687}"/>
              </a:ext>
            </a:extLst>
          </p:cNvPr>
          <p:cNvCxnSpPr>
            <a:cxnSpLocks/>
            <a:stCxn id="33" idx="2"/>
            <a:endCxn id="28" idx="2"/>
          </p:cNvCxnSpPr>
          <p:nvPr/>
        </p:nvCxnSpPr>
        <p:spPr>
          <a:xfrm rot="10800000" flipH="1" flipV="1">
            <a:off x="7009473" y="2447071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62">
            <a:extLst>
              <a:ext uri="{FF2B5EF4-FFF2-40B4-BE49-F238E27FC236}">
                <a16:creationId xmlns:a16="http://schemas.microsoft.com/office/drawing/2014/main" id="{48A08EE0-D6D8-4965-A65E-80610F8A7CF6}"/>
              </a:ext>
            </a:extLst>
          </p:cNvPr>
          <p:cNvCxnSpPr>
            <a:cxnSpLocks/>
            <a:stCxn id="33" idx="2"/>
            <a:endCxn id="29" idx="2"/>
          </p:cNvCxnSpPr>
          <p:nvPr/>
        </p:nvCxnSpPr>
        <p:spPr>
          <a:xfrm rot="10800000" flipH="1" flipV="1">
            <a:off x="7009473" y="2447071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63">
            <a:extLst>
              <a:ext uri="{FF2B5EF4-FFF2-40B4-BE49-F238E27FC236}">
                <a16:creationId xmlns:a16="http://schemas.microsoft.com/office/drawing/2014/main" id="{28F71FED-F073-4A84-99EA-5D8732DB0DC9}"/>
              </a:ext>
            </a:extLst>
          </p:cNvPr>
          <p:cNvCxnSpPr>
            <a:cxnSpLocks/>
            <a:stCxn id="30" idx="2"/>
            <a:endCxn id="31" idx="2"/>
          </p:cNvCxnSpPr>
          <p:nvPr/>
        </p:nvCxnSpPr>
        <p:spPr>
          <a:xfrm rot="10800000" flipH="1" flipV="1">
            <a:off x="7009473" y="4088736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64">
            <a:extLst>
              <a:ext uri="{FF2B5EF4-FFF2-40B4-BE49-F238E27FC236}">
                <a16:creationId xmlns:a16="http://schemas.microsoft.com/office/drawing/2014/main" id="{E6896EF5-B62D-46D8-B4C2-81969C1B8513}"/>
              </a:ext>
            </a:extLst>
          </p:cNvPr>
          <p:cNvCxnSpPr>
            <a:cxnSpLocks/>
            <a:stCxn id="30" idx="2"/>
            <a:endCxn id="32" idx="2"/>
          </p:cNvCxnSpPr>
          <p:nvPr/>
        </p:nvCxnSpPr>
        <p:spPr>
          <a:xfrm rot="10800000" flipH="1" flipV="1">
            <a:off x="7009473" y="4088737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65">
            <a:extLst>
              <a:ext uri="{FF2B5EF4-FFF2-40B4-BE49-F238E27FC236}">
                <a16:creationId xmlns:a16="http://schemas.microsoft.com/office/drawing/2014/main" id="{291C8F37-B933-4D73-B2EF-98C6966FF654}"/>
              </a:ext>
            </a:extLst>
          </p:cNvPr>
          <p:cNvSpPr/>
          <p:nvPr/>
        </p:nvSpPr>
        <p:spPr>
          <a:xfrm>
            <a:off x="6677397" y="18806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Oval 66">
            <a:extLst>
              <a:ext uri="{FF2B5EF4-FFF2-40B4-BE49-F238E27FC236}">
                <a16:creationId xmlns:a16="http://schemas.microsoft.com/office/drawing/2014/main" id="{D3D879CA-A628-438B-847D-57E35CDE7AA2}"/>
              </a:ext>
            </a:extLst>
          </p:cNvPr>
          <p:cNvSpPr/>
          <p:nvPr/>
        </p:nvSpPr>
        <p:spPr>
          <a:xfrm>
            <a:off x="7490375" y="294706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Oval 67">
            <a:extLst>
              <a:ext uri="{FF2B5EF4-FFF2-40B4-BE49-F238E27FC236}">
                <a16:creationId xmlns:a16="http://schemas.microsoft.com/office/drawing/2014/main" id="{37988E1F-B6EE-4C97-A40D-0F274AFBA89B}"/>
              </a:ext>
            </a:extLst>
          </p:cNvPr>
          <p:cNvSpPr/>
          <p:nvPr/>
        </p:nvSpPr>
        <p:spPr>
          <a:xfrm>
            <a:off x="7490375" y="349018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Oval 68">
            <a:extLst>
              <a:ext uri="{FF2B5EF4-FFF2-40B4-BE49-F238E27FC236}">
                <a16:creationId xmlns:a16="http://schemas.microsoft.com/office/drawing/2014/main" id="{9EFA1319-E61B-450C-9A73-8340733CA54B}"/>
              </a:ext>
            </a:extLst>
          </p:cNvPr>
          <p:cNvSpPr/>
          <p:nvPr/>
        </p:nvSpPr>
        <p:spPr>
          <a:xfrm>
            <a:off x="7009473" y="403473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Oval 69">
            <a:extLst>
              <a:ext uri="{FF2B5EF4-FFF2-40B4-BE49-F238E27FC236}">
                <a16:creationId xmlns:a16="http://schemas.microsoft.com/office/drawing/2014/main" id="{9A08C51C-3780-4E2D-9890-7053C9353657}"/>
              </a:ext>
            </a:extLst>
          </p:cNvPr>
          <p:cNvSpPr/>
          <p:nvPr/>
        </p:nvSpPr>
        <p:spPr>
          <a:xfrm>
            <a:off x="7490375" y="459389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val 70">
            <a:extLst>
              <a:ext uri="{FF2B5EF4-FFF2-40B4-BE49-F238E27FC236}">
                <a16:creationId xmlns:a16="http://schemas.microsoft.com/office/drawing/2014/main" id="{0FB42F95-FF22-45D2-9147-9DF5906C1CB1}"/>
              </a:ext>
            </a:extLst>
          </p:cNvPr>
          <p:cNvSpPr/>
          <p:nvPr/>
        </p:nvSpPr>
        <p:spPr>
          <a:xfrm>
            <a:off x="7490375" y="512404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Oval 71">
            <a:extLst>
              <a:ext uri="{FF2B5EF4-FFF2-40B4-BE49-F238E27FC236}">
                <a16:creationId xmlns:a16="http://schemas.microsoft.com/office/drawing/2014/main" id="{41CD62C0-8133-4629-AC5B-E15A38D0A560}"/>
              </a:ext>
            </a:extLst>
          </p:cNvPr>
          <p:cNvSpPr/>
          <p:nvPr/>
        </p:nvSpPr>
        <p:spPr>
          <a:xfrm>
            <a:off x="7009473" y="23930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6" name="Connector: Elbow 72">
            <a:extLst>
              <a:ext uri="{FF2B5EF4-FFF2-40B4-BE49-F238E27FC236}">
                <a16:creationId xmlns:a16="http://schemas.microsoft.com/office/drawing/2014/main" id="{BBB88876-6333-4EC7-8250-E23DDA2A2C99}"/>
              </a:ext>
            </a:extLst>
          </p:cNvPr>
          <p:cNvCxnSpPr>
            <a:cxnSpLocks/>
            <a:stCxn id="27" idx="2"/>
            <a:endCxn id="33" idx="2"/>
          </p:cNvCxnSpPr>
          <p:nvPr>
            <p:custDataLst>
              <p:tags r:id="rId7"/>
            </p:custDataLst>
          </p:nvPr>
        </p:nvCxnSpPr>
        <p:spPr>
          <a:xfrm rot="10800000" flipH="1" flipV="1">
            <a:off x="6677397" y="1934677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7" name="Table 58">
            <a:extLst>
              <a:ext uri="{FF2B5EF4-FFF2-40B4-BE49-F238E27FC236}">
                <a16:creationId xmlns:a16="http://schemas.microsoft.com/office/drawing/2014/main" id="{B459E54F-0C5E-4307-9813-C0E4093AFC4D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/>
          </p:nvPr>
        </p:nvGraphicFramePr>
        <p:xfrm>
          <a:off x="6770241" y="1641595"/>
          <a:ext cx="5282263" cy="4351344"/>
        </p:xfrm>
        <a:graphic>
          <a:graphicData uri="http://schemas.openxmlformats.org/drawingml/2006/table">
            <a:tbl>
              <a:tblPr/>
              <a:tblGrid>
                <a:gridCol w="5282263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78 322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63 788 (81,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7641322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symptomatičtí N = 34 828 (44,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6734207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28 960 (37,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57267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4 534 (18,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637028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 = 7 474 (9,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161272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881476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7 060 (9,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92487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38705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6176" y="31269"/>
            <a:ext cx="8226551" cy="576000"/>
          </a:xfrm>
        </p:spPr>
        <p:txBody>
          <a:bodyPr/>
          <a:lstStyle/>
          <a:p>
            <a:r>
              <a:rPr lang="cs-CZ" dirty="0"/>
              <a:t>Pozitivní případy</a:t>
            </a:r>
            <a:r>
              <a:rPr lang="en-US" dirty="0"/>
              <a:t> </a:t>
            </a:r>
            <a:r>
              <a:rPr lang="cs-CZ" dirty="0"/>
              <a:t>z testů ve firmách, podnicích a institucích </a:t>
            </a:r>
          </a:p>
        </p:txBody>
      </p:sp>
      <p:graphicFrame>
        <p:nvGraphicFramePr>
          <p:cNvPr id="59" name="Table 58">
            <a:extLst>
              <a:ext uri="{FF2B5EF4-FFF2-40B4-BE49-F238E27FC236}">
                <a16:creationId xmlns:a16="http://schemas.microsoft.com/office/drawing/2014/main" id="{80995D50-4776-4506-93F8-6BD71CF7EDD1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1004613" y="2236923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 973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PCR - celkem N = 1 696 (</a:t>
                      </a:r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</a:t>
                      </a:r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7641322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PCR - symptomatičtí N = 562 (</a:t>
                      </a:r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6734207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PCR - asymptomatičtí N = 1 134 (</a:t>
                      </a:r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3</a:t>
                      </a:r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57267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AG - celkem N = 5 277 (75,7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637028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b"/>
                      <a:r>
                        <a:rPr lang="de-DE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AG - </a:t>
                      </a:r>
                      <a:r>
                        <a:rPr lang="de-DE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mptomatičtí</a:t>
                      </a:r>
                      <a:r>
                        <a:rPr lang="de-DE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 = 1 331 (</a:t>
                      </a:r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r>
                        <a:rPr lang="de-DE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</a:t>
                      </a:r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de-DE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161272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881476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N = 3 946 (56,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9248792"/>
                  </a:ext>
                </a:extLst>
              </a:tr>
            </a:tbl>
          </a:graphicData>
        </a:graphic>
      </p:graphicFrame>
      <p:sp>
        <p:nvSpPr>
          <p:cNvPr id="60" name="TextBox 59">
            <a:extLst>
              <a:ext uri="{FF2B5EF4-FFF2-40B4-BE49-F238E27FC236}">
                <a16:creationId xmlns:a16="http://schemas.microsoft.com/office/drawing/2014/main" id="{9602BDD7-27C5-406C-B27E-8A4113784C2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02432" y="726033"/>
            <a:ext cx="9653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 o</a:t>
            </a: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dobí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. 3. 2021–23. 4. 2021 je identifikován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 973 nových pozitivních případů z testování zaměstnanců firem </a:t>
            </a:r>
          </a:p>
        </p:txBody>
      </p: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1273C70C-BF3A-479C-B97D-041BD72A5FE6}"/>
              </a:ext>
            </a:extLst>
          </p:cNvPr>
          <p:cNvCxnSpPr>
            <a:cxnSpLocks/>
            <a:stCxn id="66" idx="2"/>
            <a:endCxn id="69" idx="2"/>
          </p:cNvCxnSpPr>
          <p:nvPr/>
        </p:nvCxnSpPr>
        <p:spPr>
          <a:xfrm rot="10800000" flipH="1" flipV="1">
            <a:off x="838575" y="2538059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4619065E-C70A-4F46-9B4D-FF45C6BF4C7C}"/>
              </a:ext>
            </a:extLst>
          </p:cNvPr>
          <p:cNvCxnSpPr>
            <a:cxnSpLocks/>
            <a:stCxn id="72" idx="2"/>
            <a:endCxn id="67" idx="2"/>
          </p:cNvCxnSpPr>
          <p:nvPr/>
        </p:nvCxnSpPr>
        <p:spPr>
          <a:xfrm rot="10800000" flipH="1" flipV="1">
            <a:off x="1170651" y="3050453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FC802AFD-2BC8-4452-896A-26E5308DB656}"/>
              </a:ext>
            </a:extLst>
          </p:cNvPr>
          <p:cNvCxnSpPr>
            <a:cxnSpLocks/>
            <a:stCxn id="72" idx="2"/>
            <a:endCxn id="68" idx="2"/>
          </p:cNvCxnSpPr>
          <p:nvPr/>
        </p:nvCxnSpPr>
        <p:spPr>
          <a:xfrm rot="10800000" flipH="1" flipV="1">
            <a:off x="1170651" y="3050453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9AC63DBA-271D-4D3D-A682-96B3613D4C60}"/>
              </a:ext>
            </a:extLst>
          </p:cNvPr>
          <p:cNvCxnSpPr>
            <a:cxnSpLocks/>
            <a:stCxn id="69" idx="2"/>
            <a:endCxn id="70" idx="2"/>
          </p:cNvCxnSpPr>
          <p:nvPr/>
        </p:nvCxnSpPr>
        <p:spPr>
          <a:xfrm rot="10800000" flipH="1" flipV="1">
            <a:off x="1170651" y="4692118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41A4609A-2730-4987-B1C5-A649D3E346BF}"/>
              </a:ext>
            </a:extLst>
          </p:cNvPr>
          <p:cNvCxnSpPr>
            <a:cxnSpLocks/>
            <a:stCxn id="69" idx="2"/>
            <a:endCxn id="71" idx="2"/>
          </p:cNvCxnSpPr>
          <p:nvPr/>
        </p:nvCxnSpPr>
        <p:spPr>
          <a:xfrm rot="10800000" flipH="1" flipV="1">
            <a:off x="1170651" y="4692119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67AAD94C-4532-4F9B-A342-53990B7830C9}"/>
              </a:ext>
            </a:extLst>
          </p:cNvPr>
          <p:cNvSpPr/>
          <p:nvPr/>
        </p:nvSpPr>
        <p:spPr>
          <a:xfrm>
            <a:off x="838575" y="248406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C5B25FD8-2C0B-4F9A-AA9B-E58400588461}"/>
              </a:ext>
            </a:extLst>
          </p:cNvPr>
          <p:cNvSpPr/>
          <p:nvPr/>
        </p:nvSpPr>
        <p:spPr>
          <a:xfrm>
            <a:off x="1651553" y="355045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70163B7B-CA20-43C9-BDB5-5CDF0F87660A}"/>
              </a:ext>
            </a:extLst>
          </p:cNvPr>
          <p:cNvSpPr/>
          <p:nvPr/>
        </p:nvSpPr>
        <p:spPr>
          <a:xfrm>
            <a:off x="1651553" y="409356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9A694CB3-CDE4-4FC6-A949-BEEC193745E8}"/>
              </a:ext>
            </a:extLst>
          </p:cNvPr>
          <p:cNvSpPr/>
          <p:nvPr/>
        </p:nvSpPr>
        <p:spPr>
          <a:xfrm>
            <a:off x="1170651" y="463811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1842FE78-64A6-4062-88BB-53893E6FD897}"/>
              </a:ext>
            </a:extLst>
          </p:cNvPr>
          <p:cNvSpPr/>
          <p:nvPr/>
        </p:nvSpPr>
        <p:spPr>
          <a:xfrm>
            <a:off x="1651553" y="519727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4472FCC-90E8-4D11-943B-F13221D595BE}"/>
              </a:ext>
            </a:extLst>
          </p:cNvPr>
          <p:cNvSpPr/>
          <p:nvPr/>
        </p:nvSpPr>
        <p:spPr>
          <a:xfrm>
            <a:off x="1651553" y="572742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D2C1D709-B145-4522-AC77-3F0FCDCEC69A}"/>
              </a:ext>
            </a:extLst>
          </p:cNvPr>
          <p:cNvSpPr/>
          <p:nvPr/>
        </p:nvSpPr>
        <p:spPr>
          <a:xfrm>
            <a:off x="1170651" y="299645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A9B6F843-DC6A-477D-BDF3-A6F54EA9C29B}"/>
              </a:ext>
            </a:extLst>
          </p:cNvPr>
          <p:cNvCxnSpPr>
            <a:cxnSpLocks/>
            <a:stCxn id="66" idx="2"/>
            <a:endCxn id="72" idx="2"/>
          </p:cNvCxnSpPr>
          <p:nvPr/>
        </p:nvCxnSpPr>
        <p:spPr>
          <a:xfrm rot="10800000" flipH="1" flipV="1">
            <a:off x="838575" y="2538059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Chart 13">
            <a:extLst>
              <a:ext uri="{FF2B5EF4-FFF2-40B4-BE49-F238E27FC236}">
                <a16:creationId xmlns:a16="http://schemas.microsoft.com/office/drawing/2014/main" id="{B4E61663-3F14-442C-8688-052CCD77B3AC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7151639" y="2236924"/>
          <a:ext cx="4626367" cy="4273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Šipka doprava 2"/>
          <p:cNvSpPr/>
          <p:nvPr/>
        </p:nvSpPr>
        <p:spPr>
          <a:xfrm rot="2785191">
            <a:off x="7596457" y="1626046"/>
            <a:ext cx="729673" cy="83075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Šipka doprava 19"/>
          <p:cNvSpPr/>
          <p:nvPr/>
        </p:nvSpPr>
        <p:spPr>
          <a:xfrm rot="7851062">
            <a:off x="4117346" y="1629023"/>
            <a:ext cx="729673" cy="83075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03984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345172" y="267241"/>
            <a:ext cx="11732033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hniska identifikovaná na pracovištíc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zi četná ohniska patří také nákazy na pracovištích, celkem je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 celou dobu sledová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e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ny KHS identifikovaných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a 470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kových událostí. V této kategorii převažují výrobní závody (235). Výskyt těchto ohnisek po začátku roku 2021 ve srovnání s předchozími měsíci výrazně poklesl (na podzim 2020 bylo průměrně zachytáváno cca 48 ohnisek na pracovištích za měsíc, v lednu 2021 pak 21, poté nárůst v únoru na 61 a v březnu na 85, v současnosti pozorujeme mírný pokles.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růst v březnu jednoznačně souvisí se zahájením testování zaměstnanců – jde o včasně podchycená ohniska nákazy. 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663500" y="4360669"/>
            <a:ext cx="1095375" cy="561554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8550825A-1347-4E18-8BC0-81FBBAAA220D}"/>
              </a:ext>
            </a:extLst>
          </p:cNvPr>
          <p:cNvSpPr/>
          <p:nvPr/>
        </p:nvSpPr>
        <p:spPr>
          <a:xfrm>
            <a:off x="345172" y="4967646"/>
            <a:ext cx="11578264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sledující přehledy shrnují výsledky epidemických šetření krajských hygienických stanic při prokazování ohnisek na různých typech pracovišť a výrobních závodů. Zdrojem dat jsou hlášení krajských hygienických stanic do centrálního informačního systému.</a:t>
            </a: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Šipka dolů 6"/>
          <p:cNvSpPr/>
          <p:nvPr/>
        </p:nvSpPr>
        <p:spPr>
          <a:xfrm>
            <a:off x="5672470" y="1077015"/>
            <a:ext cx="1095375" cy="416585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0844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53DDC3E-2F39-4C59-BB9B-9AA9EEE4A02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438149" y="5690079"/>
          <a:ext cx="4556220" cy="731520"/>
        </p:xfrm>
        <a:graphic>
          <a:graphicData uri="http://schemas.openxmlformats.org/drawingml/2006/table">
            <a:tbl>
              <a:tblPr/>
              <a:tblGrid>
                <a:gridCol w="379685">
                  <a:extLst>
                    <a:ext uri="{9D8B030D-6E8A-4147-A177-3AD203B41FA5}">
                      <a16:colId xmlns:a16="http://schemas.microsoft.com/office/drawing/2014/main" val="2464639409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1884289893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4051334398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210671410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401122989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1902607567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156638283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2813864371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4138993546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1166760812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3581010463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235997222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60257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1368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Výrobní závod, kancelář / úřad, ostatní pracoviště  </a:t>
            </a:r>
            <a:br>
              <a:rPr lang="cs-CZ" dirty="0"/>
            </a:br>
            <a:r>
              <a:rPr lang="cs-CZ" dirty="0"/>
              <a:t>jako ohniska nákazy COVID-19</a:t>
            </a:r>
          </a:p>
        </p:txBody>
      </p:sp>
      <p:graphicFrame>
        <p:nvGraphicFramePr>
          <p:cNvPr id="14" name="Tabulka 14">
            <a:extLst>
              <a:ext uri="{FF2B5EF4-FFF2-40B4-BE49-F238E27FC236}">
                <a16:creationId xmlns:a16="http://schemas.microsoft.com/office/drawing/2014/main" id="{DBE8A6DE-114F-476E-AE97-70A3B1E4784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600825" y="1267146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15" name="TextovéPole 9">
            <a:extLst>
              <a:ext uri="{FF2B5EF4-FFF2-40B4-BE49-F238E27FC236}">
                <a16:creationId xmlns:a16="http://schemas.microsoft.com/office/drawing/2014/main" id="{1C0A0A14-00DB-47CA-AD85-AD8E8C74371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3. 4. 2021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F200C957-AF95-4B1A-B555-B378907298DB}"/>
              </a:ext>
            </a:extLst>
          </p:cNvPr>
          <p:cNvGraphicFramePr/>
          <p:nvPr>
            <p:extLst/>
          </p:nvPr>
        </p:nvGraphicFramePr>
        <p:xfrm>
          <a:off x="6895909" y="1655934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18CD9964-74C9-44E8-9B72-861B8ECEDB54}"/>
              </a:ext>
            </a:extLst>
          </p:cNvPr>
          <p:cNvSpPr/>
          <p:nvPr/>
        </p:nvSpPr>
        <p:spPr>
          <a:xfrm>
            <a:off x="6986345" y="907828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0934EBBB-D9D7-4750-B576-D94BAF402B9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686550" y="5690079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BC57EF1A-B7D2-4980-A6D0-E61F0CD6CBA9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04/2021 k 23. 4.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849029D4-7F7F-44C6-AAF9-378B3CF31606}"/>
              </a:ext>
            </a:extLst>
          </p:cNvPr>
          <p:cNvSpPr/>
          <p:nvPr/>
        </p:nvSpPr>
        <p:spPr>
          <a:xfrm>
            <a:off x="11453048" y="5458055"/>
            <a:ext cx="59984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23. 4.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2D35AEB8-AB29-4483-97F9-2B02ACF009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1354" y="979828"/>
          <a:ext cx="6538521" cy="5376595"/>
        </p:xfrm>
        <a:graphic>
          <a:graphicData uri="http://schemas.openxmlformats.org/drawingml/2006/table">
            <a:tbl>
              <a:tblPr/>
              <a:tblGrid>
                <a:gridCol w="1794105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593052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593052">
                  <a:extLst>
                    <a:ext uri="{9D8B030D-6E8A-4147-A177-3AD203B41FA5}">
                      <a16:colId xmlns:a16="http://schemas.microsoft.com/office/drawing/2014/main" val="492286941"/>
                    </a:ext>
                  </a:extLst>
                </a:gridCol>
                <a:gridCol w="593052">
                  <a:extLst>
                    <a:ext uri="{9D8B030D-6E8A-4147-A177-3AD203B41FA5}">
                      <a16:colId xmlns:a16="http://schemas.microsoft.com/office/drawing/2014/main" val="3966500144"/>
                    </a:ext>
                  </a:extLst>
                </a:gridCol>
                <a:gridCol w="593052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593052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593052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593052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593052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</a:tblGrid>
              <a:tr h="33384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20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20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2021</a:t>
                      </a:r>
                    </a:p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23. 4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604989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8403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8403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8403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8403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8403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8403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8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8403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8403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8403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8403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8403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 (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8403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8403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8403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 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4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33846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6F0D4EF7-7F7F-41AF-87DD-F3E1C98EE2B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438149" y="1172956"/>
          <a:ext cx="4556220" cy="381000"/>
        </p:xfrm>
        <a:graphic>
          <a:graphicData uri="http://schemas.openxmlformats.org/drawingml/2006/table">
            <a:tbl>
              <a:tblPr/>
              <a:tblGrid>
                <a:gridCol w="379685">
                  <a:extLst>
                    <a:ext uri="{9D8B030D-6E8A-4147-A177-3AD203B41FA5}">
                      <a16:colId xmlns:a16="http://schemas.microsoft.com/office/drawing/2014/main" val="326943784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1433717469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1593397093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150112114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3674257574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1575766935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2235579508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834412620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3281933989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1361496522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2302838273"/>
                    </a:ext>
                  </a:extLst>
                </a:gridCol>
                <a:gridCol w="379685">
                  <a:extLst>
                    <a:ext uri="{9D8B030D-6E8A-4147-A177-3AD203B41FA5}">
                      <a16:colId xmlns:a16="http://schemas.microsoft.com/office/drawing/2014/main" val="1291635767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214814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D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6381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32528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831336"/>
            <a:ext cx="12192000" cy="19568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ůběh vakcinace k 27. 4. 2021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hrn dostupných dat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5819519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Zadávání dat o očkování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3FD7B51-0CCF-4695-BA40-1F340C87D5BF}"/>
              </a:ext>
            </a:extLst>
          </p:cNvPr>
          <p:cNvSpPr txBox="1"/>
          <p:nvPr/>
        </p:nvSpPr>
        <p:spPr>
          <a:xfrm>
            <a:off x="6474745" y="6608511"/>
            <a:ext cx="28978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y s alespoň 1 dávkou vakcín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CB39307-4EF2-4A2A-AC89-D8C56FF8E1C7}"/>
              </a:ext>
            </a:extLst>
          </p:cNvPr>
          <p:cNvSpPr txBox="1"/>
          <p:nvPr/>
        </p:nvSpPr>
        <p:spPr>
          <a:xfrm>
            <a:off x="6475293" y="2898180"/>
            <a:ext cx="2435081" cy="733278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očkovanýc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*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425 346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CD51750-B367-46D1-9188-497DD32FA800}"/>
              </a:ext>
            </a:extLst>
          </p:cNvPr>
          <p:cNvSpPr txBox="1"/>
          <p:nvPr/>
        </p:nvSpPr>
        <p:spPr>
          <a:xfrm>
            <a:off x="9302537" y="2898181"/>
            <a:ext cx="2435081" cy="733277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>
            <a:defPPr>
              <a:defRPr lang="cs-CZ"/>
            </a:defPPr>
            <a:lvl1pPr algn="ctr"/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očkovanýc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ávk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848 262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6568278" y="2560699"/>
            <a:ext cx="50150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irnaty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oNTech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ufacturing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mbH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sp>
        <p:nvSpPr>
          <p:cNvPr id="13" name="TextBox 15">
            <a:extLst>
              <a:ext uri="{FF2B5EF4-FFF2-40B4-BE49-F238E27FC236}">
                <a16:creationId xmlns:a16="http://schemas.microsoft.com/office/drawing/2014/main" id="{244981E4-7974-43D4-948D-20A60F272BD4}"/>
              </a:ext>
            </a:extLst>
          </p:cNvPr>
          <p:cNvSpPr txBox="1"/>
          <p:nvPr/>
        </p:nvSpPr>
        <p:spPr>
          <a:xfrm>
            <a:off x="6475293" y="4008680"/>
            <a:ext cx="2435081" cy="733278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očkovanýc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*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4 517</a:t>
            </a: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F7DADBF1-2B3D-478C-8402-4E893313CC1A}"/>
              </a:ext>
            </a:extLst>
          </p:cNvPr>
          <p:cNvSpPr txBox="1"/>
          <p:nvPr/>
        </p:nvSpPr>
        <p:spPr>
          <a:xfrm>
            <a:off x="9302537" y="4008681"/>
            <a:ext cx="2435081" cy="733277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>
            <a:defPPr>
              <a:defRPr lang="cs-CZ"/>
            </a:defPPr>
            <a:lvl1pPr algn="ctr"/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očkovanýc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ávk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3 880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F957A2B-D2B1-4750-90C5-F67217CD3EC7}"/>
              </a:ext>
            </a:extLst>
          </p:cNvPr>
          <p:cNvSpPr/>
          <p:nvPr/>
        </p:nvSpPr>
        <p:spPr>
          <a:xfrm>
            <a:off x="6568278" y="3690249"/>
            <a:ext cx="43781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-19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ccine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oderna (Moderna)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64614" y="637799"/>
            <a:ext cx="1174917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o očkovaných jsou zadávána do nového modulu centrálního systému ISIN /Modul Očkování/, a to v reálném čase dle možností očkujících center a poskytovatelů  </a:t>
            </a:r>
          </a:p>
        </p:txBody>
      </p:sp>
      <p:sp>
        <p:nvSpPr>
          <p:cNvPr id="21" name="Šipka dolů 20"/>
          <p:cNvSpPr/>
          <p:nvPr/>
        </p:nvSpPr>
        <p:spPr>
          <a:xfrm>
            <a:off x="5275384" y="2175861"/>
            <a:ext cx="1327639" cy="4632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92A17D3C-0C2D-4013-948C-08F37662439B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7. 4. 2021</a:t>
            </a:r>
          </a:p>
        </p:txBody>
      </p:sp>
      <p:sp>
        <p:nvSpPr>
          <p:cNvPr id="22" name="TextovéPole 21"/>
          <p:cNvSpPr txBox="1"/>
          <p:nvPr/>
        </p:nvSpPr>
        <p:spPr>
          <a:xfrm>
            <a:off x="363153" y="2962497"/>
            <a:ext cx="53535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dle hlášení center a MZ ČR k 27. 4. (20:00), korigováno dle dostupných podkladů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30598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xtBox 4">
            <a:extLst>
              <a:ext uri="{FF2B5EF4-FFF2-40B4-BE49-F238E27FC236}">
                <a16:creationId xmlns:a16="http://schemas.microsoft.com/office/drawing/2014/main" id="{7CEDFB5E-4738-44FF-9FA7-0F069C7F6E3F}"/>
              </a:ext>
            </a:extLst>
          </p:cNvPr>
          <p:cNvSpPr txBox="1"/>
          <p:nvPr/>
        </p:nvSpPr>
        <p:spPr>
          <a:xfrm>
            <a:off x="339568" y="4256330"/>
            <a:ext cx="2435081" cy="1440000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 zadaných dávek očkování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938 538</a:t>
            </a:r>
          </a:p>
        </p:txBody>
      </p:sp>
      <p:sp>
        <p:nvSpPr>
          <p:cNvPr id="26" name="TextBox 17">
            <a:extLst>
              <a:ext uri="{FF2B5EF4-FFF2-40B4-BE49-F238E27FC236}">
                <a16:creationId xmlns:a16="http://schemas.microsoft.com/office/drawing/2014/main" id="{67B538C2-C372-4DF2-A732-D2EE645EE8F2}"/>
              </a:ext>
            </a:extLst>
          </p:cNvPr>
          <p:cNvSpPr txBox="1"/>
          <p:nvPr/>
        </p:nvSpPr>
        <p:spPr>
          <a:xfrm>
            <a:off x="3187739" y="3795238"/>
            <a:ext cx="2435081" cy="2405788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 zadaných očkovaných osob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973 63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toho se dvěma dávkami očkování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64 906</a:t>
            </a:r>
          </a:p>
        </p:txBody>
      </p:sp>
      <p:sp>
        <p:nvSpPr>
          <p:cNvPr id="18" name="TextBox 15">
            <a:extLst>
              <a:ext uri="{FF2B5EF4-FFF2-40B4-BE49-F238E27FC236}">
                <a16:creationId xmlns:a16="http://schemas.microsoft.com/office/drawing/2014/main" id="{5405197D-6D69-4A10-8688-C2A9DC5960D5}"/>
              </a:ext>
            </a:extLst>
          </p:cNvPr>
          <p:cNvSpPr txBox="1"/>
          <p:nvPr/>
        </p:nvSpPr>
        <p:spPr>
          <a:xfrm>
            <a:off x="6474745" y="5115323"/>
            <a:ext cx="2435081" cy="733278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očkovanýc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*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52 050</a:t>
            </a:r>
          </a:p>
        </p:txBody>
      </p:sp>
      <p:sp>
        <p:nvSpPr>
          <p:cNvPr id="25" name="TextBox 16">
            <a:extLst>
              <a:ext uri="{FF2B5EF4-FFF2-40B4-BE49-F238E27FC236}">
                <a16:creationId xmlns:a16="http://schemas.microsoft.com/office/drawing/2014/main" id="{08E03598-CD5A-4249-913E-AB2908F7F61B}"/>
              </a:ext>
            </a:extLst>
          </p:cNvPr>
          <p:cNvSpPr txBox="1"/>
          <p:nvPr/>
        </p:nvSpPr>
        <p:spPr>
          <a:xfrm>
            <a:off x="9301989" y="5115324"/>
            <a:ext cx="2435081" cy="733277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>
            <a:defPPr>
              <a:defRPr lang="cs-CZ"/>
            </a:defPPr>
            <a:lvl1pPr algn="ctr"/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očkovanýc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ávk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2 764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A666C0FE-0DFA-4AD2-B36B-1A5612D81DF9}"/>
              </a:ext>
            </a:extLst>
          </p:cNvPr>
          <p:cNvSpPr/>
          <p:nvPr/>
        </p:nvSpPr>
        <p:spPr>
          <a:xfrm>
            <a:off x="6567730" y="4796892"/>
            <a:ext cx="51902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-19 VAXZEVRIA (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ccine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stra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nec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F8FDA811-7C11-4038-84E1-49059028EF1A}"/>
              </a:ext>
            </a:extLst>
          </p:cNvPr>
          <p:cNvSpPr/>
          <p:nvPr/>
        </p:nvSpPr>
        <p:spPr>
          <a:xfrm>
            <a:off x="6491530" y="5905734"/>
            <a:ext cx="54554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-19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ccine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nssen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Johnson &amp;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ohson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sp>
        <p:nvSpPr>
          <p:cNvPr id="29" name="TextBox 16">
            <a:extLst>
              <a:ext uri="{FF2B5EF4-FFF2-40B4-BE49-F238E27FC236}">
                <a16:creationId xmlns:a16="http://schemas.microsoft.com/office/drawing/2014/main" id="{E09C6234-58DE-4160-BD1E-14EA2A9E333D}"/>
              </a:ext>
            </a:extLst>
          </p:cNvPr>
          <p:cNvSpPr txBox="1"/>
          <p:nvPr/>
        </p:nvSpPr>
        <p:spPr>
          <a:xfrm>
            <a:off x="7421763" y="6226412"/>
            <a:ext cx="3391351" cy="365927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>
            <a:defPPr>
              <a:defRPr lang="cs-CZ"/>
            </a:defPPr>
            <a:lvl1pPr algn="ctr"/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očkovaných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719</a:t>
            </a:r>
          </a:p>
        </p:txBody>
      </p:sp>
    </p:spTree>
    <p:extLst>
      <p:ext uri="{BB962C8B-B14F-4D97-AF65-F5344CB8AC3E}">
        <p14:creationId xmlns:p14="http://schemas.microsoft.com/office/powerpoint/2010/main" val="361703054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C457867-BCFC-4FA9-A5A4-F973F2F932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čkování, objednávky a dodávky vakcín</a:t>
            </a:r>
          </a:p>
        </p:txBody>
      </p:sp>
      <p:graphicFrame>
        <p:nvGraphicFramePr>
          <p:cNvPr id="3" name="Chart 6">
            <a:extLst>
              <a:ext uri="{FF2B5EF4-FFF2-40B4-BE49-F238E27FC236}">
                <a16:creationId xmlns:a16="http://schemas.microsoft.com/office/drawing/2014/main" id="{ABE3C42C-B754-4C8E-9665-41AA38F0861D}"/>
              </a:ext>
            </a:extLst>
          </p:cNvPr>
          <p:cNvGraphicFramePr/>
          <p:nvPr>
            <p:extLst/>
          </p:nvPr>
        </p:nvGraphicFramePr>
        <p:xfrm>
          <a:off x="350544" y="868069"/>
          <a:ext cx="11284730" cy="58397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Obdélník 7">
            <a:extLst>
              <a:ext uri="{FF2B5EF4-FFF2-40B4-BE49-F238E27FC236}">
                <a16:creationId xmlns:a16="http://schemas.microsoft.com/office/drawing/2014/main" id="{2C540E05-FC47-4BF7-A6BF-3CED1F9C8C6E}"/>
              </a:ext>
            </a:extLst>
          </p:cNvPr>
          <p:cNvSpPr/>
          <p:nvPr/>
        </p:nvSpPr>
        <p:spPr>
          <a:xfrm>
            <a:off x="11118500" y="5092998"/>
            <a:ext cx="8306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64 906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5A57F42A-493C-42D9-BE22-6E5AF156DA7C}"/>
              </a:ext>
            </a:extLst>
          </p:cNvPr>
          <p:cNvSpPr/>
          <p:nvPr/>
        </p:nvSpPr>
        <p:spPr>
          <a:xfrm>
            <a:off x="11118500" y="3042213"/>
            <a:ext cx="97975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973 632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9C3AFCBF-93DD-4BCE-A1B5-74BE018F4B70}"/>
              </a:ext>
            </a:extLst>
          </p:cNvPr>
          <p:cNvSpPr/>
          <p:nvPr/>
        </p:nvSpPr>
        <p:spPr>
          <a:xfrm>
            <a:off x="11115563" y="1984554"/>
            <a:ext cx="97975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938 538</a:t>
            </a:r>
          </a:p>
        </p:txBody>
      </p:sp>
      <p:sp>
        <p:nvSpPr>
          <p:cNvPr id="7" name="TextovéPole 1">
            <a:extLst>
              <a:ext uri="{FF2B5EF4-FFF2-40B4-BE49-F238E27FC236}">
                <a16:creationId xmlns:a16="http://schemas.microsoft.com/office/drawing/2014/main" id="{50BACDFB-8FCB-4E29-BAA0-B5FBA5E85967}"/>
              </a:ext>
            </a:extLst>
          </p:cNvPr>
          <p:cNvSpPr txBox="1"/>
          <p:nvPr/>
        </p:nvSpPr>
        <p:spPr>
          <a:xfrm>
            <a:off x="11049172" y="1086043"/>
            <a:ext cx="1099359" cy="30781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690923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 464 520</a:t>
            </a:r>
          </a:p>
        </p:txBody>
      </p:sp>
    </p:spTree>
    <p:extLst>
      <p:ext uri="{BB962C8B-B14F-4D97-AF65-F5344CB8AC3E}">
        <p14:creationId xmlns:p14="http://schemas.microsoft.com/office/powerpoint/2010/main" val="41661876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2400" dirty="0"/>
              <a:t>Přehled dle místa bydliště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7. 4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11117" y="779609"/>
            <a:ext cx="1118940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plikovaných dávek očkování se liší mezi kraji, nicméně rozdíly se postupně vyrovnávají, zejména při hodnoc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e místa bydliště očkovaného. </a:t>
            </a:r>
          </a:p>
        </p:txBody>
      </p:sp>
      <p:sp>
        <p:nvSpPr>
          <p:cNvPr id="4" name="Šipka dolů 3"/>
          <p:cNvSpPr/>
          <p:nvPr/>
        </p:nvSpPr>
        <p:spPr>
          <a:xfrm>
            <a:off x="5449173" y="2657157"/>
            <a:ext cx="1164566" cy="6642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15153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F037D399-9F64-40E4-8D3C-0D5A836D17A6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0475798"/>
              </p:ext>
            </p:extLst>
          </p:nvPr>
        </p:nvGraphicFramePr>
        <p:xfrm>
          <a:off x="1705406" y="2192451"/>
          <a:ext cx="8686800" cy="29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65200">
                  <a:extLst>
                    <a:ext uri="{9D8B030D-6E8A-4147-A177-3AD203B41FA5}">
                      <a16:colId xmlns:a16="http://schemas.microsoft.com/office/drawing/2014/main" val="196662120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040813184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789941820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49583764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114857008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45972701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84919792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687465303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588458930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.1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.6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.4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.6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0.4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319425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7549C43-2193-41A9-BEE1-EB00FC4C99A8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4272646"/>
              </p:ext>
            </p:extLst>
          </p:nvPr>
        </p:nvGraphicFramePr>
        <p:xfrm>
          <a:off x="149963" y="1822305"/>
          <a:ext cx="11797686" cy="29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270630177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13077620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87291798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921272003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4978856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927375975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32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71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97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56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4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2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046660"/>
                  </a:ext>
                </a:extLst>
              </a:tr>
            </a:tbl>
          </a:graphicData>
        </a:graphic>
      </p:graphicFrame>
      <p:graphicFrame>
        <p:nvGraphicFramePr>
          <p:cNvPr id="39" name="Chart 4">
            <a:extLst>
              <a:ext uri="{FF2B5EF4-FFF2-40B4-BE49-F238E27FC236}">
                <a16:creationId xmlns:a16="http://schemas.microsoft.com/office/drawing/2014/main" id="{F3B3A751-5826-48A2-8A63-61032D0536F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85235843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cs-CZ" dirty="0"/>
              <a:t>Počty nově diagnostikovaných pacientů: týdenní vývoj v ČR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215" y="546834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ynamika vývoje počtů pozitivních diagnóz ukazuje na zpomalení šíření nemoci.</a:t>
            </a:r>
          </a:p>
        </p:txBody>
      </p:sp>
      <p:sp>
        <p:nvSpPr>
          <p:cNvPr id="36" name="Šipka doprava 58">
            <a:extLst>
              <a:ext uri="{FF2B5EF4-FFF2-40B4-BE49-F238E27FC236}">
                <a16:creationId xmlns:a16="http://schemas.microsoft.com/office/drawing/2014/main" id="{1EB91550-BE39-4068-9AA2-464822A320B7}"/>
              </a:ext>
            </a:extLst>
          </p:cNvPr>
          <p:cNvSpPr/>
          <p:nvPr/>
        </p:nvSpPr>
        <p:spPr>
          <a:xfrm rot="697074" flipV="1">
            <a:off x="11145324" y="5037652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02FE6BCD-B160-4DEB-82CC-D4CDD287F607}"/>
              </a:ext>
            </a:extLst>
          </p:cNvPr>
          <p:cNvSpPr/>
          <p:nvPr/>
        </p:nvSpPr>
        <p:spPr>
          <a:xfrm>
            <a:off x="1203450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Zahnutá šipka nahoru 25">
            <a:extLst>
              <a:ext uri="{FF2B5EF4-FFF2-40B4-BE49-F238E27FC236}">
                <a16:creationId xmlns:a16="http://schemas.microsoft.com/office/drawing/2014/main" id="{E87C39AF-5DBF-4112-A008-28FE61C7D806}"/>
              </a:ext>
            </a:extLst>
          </p:cNvPr>
          <p:cNvSpPr/>
          <p:nvPr/>
        </p:nvSpPr>
        <p:spPr>
          <a:xfrm>
            <a:off x="3172865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9A04A270-7187-4E15-B7EC-383522621181}"/>
              </a:ext>
            </a:extLst>
          </p:cNvPr>
          <p:cNvSpPr/>
          <p:nvPr/>
        </p:nvSpPr>
        <p:spPr>
          <a:xfrm>
            <a:off x="5116865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Zahnutá šipka nahoru 25">
            <a:extLst>
              <a:ext uri="{FF2B5EF4-FFF2-40B4-BE49-F238E27FC236}">
                <a16:creationId xmlns:a16="http://schemas.microsoft.com/office/drawing/2014/main" id="{35647ED1-6EF9-4788-866E-E82C5C053706}"/>
              </a:ext>
            </a:extLst>
          </p:cNvPr>
          <p:cNvSpPr/>
          <p:nvPr/>
        </p:nvSpPr>
        <p:spPr>
          <a:xfrm>
            <a:off x="7086280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Zahnutá šipka nahoru 25">
            <a:extLst>
              <a:ext uri="{FF2B5EF4-FFF2-40B4-BE49-F238E27FC236}">
                <a16:creationId xmlns:a16="http://schemas.microsoft.com/office/drawing/2014/main" id="{BEB8EDC1-DE8F-4A9A-B5D7-4664DBC21F67}"/>
              </a:ext>
            </a:extLst>
          </p:cNvPr>
          <p:cNvSpPr/>
          <p:nvPr/>
        </p:nvSpPr>
        <p:spPr>
          <a:xfrm>
            <a:off x="9056914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9AF1931-9334-4129-B826-B01E87F9D75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27675" y="3112433"/>
            <a:ext cx="3956723" cy="400110"/>
          </a:xfrm>
          <a:prstGeom prst="rect">
            <a:avLst/>
          </a:prstGeom>
          <a:solidFill>
            <a:srgbClr val="9E0D34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tuální odhad R pro ČR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0,8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21" name="Tabulka 8">
            <a:extLst>
              <a:ext uri="{FF2B5EF4-FFF2-40B4-BE49-F238E27FC236}">
                <a16:creationId xmlns:a16="http://schemas.microsoft.com/office/drawing/2014/main" id="{D0C584D2-EEC6-4A09-8F60-F2EA1C28695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14908769"/>
              </p:ext>
            </p:extLst>
          </p:nvPr>
        </p:nvGraphicFramePr>
        <p:xfrm>
          <a:off x="99093" y="1051826"/>
          <a:ext cx="11797686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</a:t>
                      </a:r>
                      <a:r>
                        <a:rPr lang="cs-CZ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</a:t>
                      </a:r>
                      <a:r>
                        <a:rPr lang="cs-CZ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</a:t>
                      </a:r>
                      <a:r>
                        <a:rPr lang="cs-CZ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</a:t>
                      </a:r>
                      <a:r>
                        <a:rPr lang="cs-CZ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</a:t>
                      </a:r>
                      <a:r>
                        <a:rPr lang="cs-CZ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</a:t>
                      </a:r>
                      <a:r>
                        <a:rPr lang="cs-CZ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06628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v krajích (</a:t>
            </a:r>
            <a:r>
              <a:rPr lang="cs-CZ" u="sng" dirty="0"/>
              <a:t>podle místa bydliště</a:t>
            </a:r>
            <a:r>
              <a:rPr lang="cs-CZ" dirty="0"/>
              <a:t>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329223D-04DC-459A-A7C2-69EB1368F112}"/>
              </a:ext>
            </a:extLst>
          </p:cNvPr>
          <p:cNvGraphicFramePr/>
          <p:nvPr>
            <p:extLst/>
          </p:nvPr>
        </p:nvGraphicFramePr>
        <p:xfrm>
          <a:off x="172061" y="1443642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7D7DAEF-8678-4239-947C-9AB224285FDF}"/>
              </a:ext>
            </a:extLst>
          </p:cNvPr>
          <p:cNvSpPr txBox="1"/>
          <p:nvPr/>
        </p:nvSpPr>
        <p:spPr>
          <a:xfrm>
            <a:off x="6890411" y="1117535"/>
            <a:ext cx="45143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0 obyvat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12E392B-240E-4C0F-AD74-974F8D3293FC}"/>
              </a:ext>
            </a:extLst>
          </p:cNvPr>
          <p:cNvSpPr/>
          <p:nvPr/>
        </p:nvSpPr>
        <p:spPr>
          <a:xfrm>
            <a:off x="9916369" y="1937440"/>
            <a:ext cx="203210" cy="203210"/>
          </a:xfrm>
          <a:prstGeom prst="rect">
            <a:avLst/>
          </a:prstGeom>
          <a:solidFill>
            <a:srgbClr val="31539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473343B1-38DB-4454-BEC7-7D783C80D202}"/>
              </a:ext>
            </a:extLst>
          </p:cNvPr>
          <p:cNvSpPr/>
          <p:nvPr/>
        </p:nvSpPr>
        <p:spPr>
          <a:xfrm>
            <a:off x="9916369" y="2285148"/>
            <a:ext cx="203210" cy="203210"/>
          </a:xfrm>
          <a:prstGeom prst="rect">
            <a:avLst/>
          </a:prstGeom>
          <a:solidFill>
            <a:srgbClr val="7191D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400BFFE-C06B-4B17-AE74-5D4CCABA1F19}"/>
              </a:ext>
            </a:extLst>
          </p:cNvPr>
          <p:cNvSpPr/>
          <p:nvPr/>
        </p:nvSpPr>
        <p:spPr>
          <a:xfrm>
            <a:off x="9916369" y="2632856"/>
            <a:ext cx="203210" cy="203210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0607D2D-10F6-4550-A76A-3631C17394BF}"/>
              </a:ext>
            </a:extLst>
          </p:cNvPr>
          <p:cNvSpPr/>
          <p:nvPr/>
        </p:nvSpPr>
        <p:spPr>
          <a:xfrm>
            <a:off x="9916369" y="2980564"/>
            <a:ext cx="203210" cy="20321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16C5501-0A0D-483E-9980-85832796A62C}"/>
              </a:ext>
            </a:extLst>
          </p:cNvPr>
          <p:cNvSpPr txBox="1"/>
          <p:nvPr/>
        </p:nvSpPr>
        <p:spPr>
          <a:xfrm>
            <a:off x="10178905" y="2904051"/>
            <a:ext cx="9893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0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9824DF73-D1DC-4B67-9B05-DA2B841A6A02}"/>
              </a:ext>
            </a:extLst>
          </p:cNvPr>
          <p:cNvSpPr txBox="1"/>
          <p:nvPr/>
        </p:nvSpPr>
        <p:spPr>
          <a:xfrm>
            <a:off x="10192137" y="2569570"/>
            <a:ext cx="15520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0,00–189,99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2234E8BA-E79D-46F8-95EB-7AB2E601299E}"/>
              </a:ext>
            </a:extLst>
          </p:cNvPr>
          <p:cNvSpPr txBox="1"/>
          <p:nvPr/>
        </p:nvSpPr>
        <p:spPr>
          <a:xfrm>
            <a:off x="10178451" y="2219187"/>
            <a:ext cx="15520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0,00–199,99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77F0896-A4D3-4EE1-86C6-EACE5FA93733}"/>
              </a:ext>
            </a:extLst>
          </p:cNvPr>
          <p:cNvSpPr txBox="1"/>
          <p:nvPr/>
        </p:nvSpPr>
        <p:spPr>
          <a:xfrm>
            <a:off x="10159693" y="1858889"/>
            <a:ext cx="8675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≥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,0</a:t>
            </a:r>
          </a:p>
        </p:txBody>
      </p:sp>
      <p:sp>
        <p:nvSpPr>
          <p:cNvPr id="181" name="Freeform 224">
            <a:extLst>
              <a:ext uri="{FF2B5EF4-FFF2-40B4-BE49-F238E27FC236}">
                <a16:creationId xmlns:a16="http://schemas.microsoft.com/office/drawing/2014/main" id="{0B6A9104-1908-4D50-B347-AA4A8A6EBA01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Freeform 225">
            <a:extLst>
              <a:ext uri="{FF2B5EF4-FFF2-40B4-BE49-F238E27FC236}">
                <a16:creationId xmlns:a16="http://schemas.microsoft.com/office/drawing/2014/main" id="{77651468-2EC0-4490-8E58-577A93E48F00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Freeform 226">
            <a:extLst>
              <a:ext uri="{FF2B5EF4-FFF2-40B4-BE49-F238E27FC236}">
                <a16:creationId xmlns:a16="http://schemas.microsoft.com/office/drawing/2014/main" id="{89D248F1-C874-4693-9ECE-731FEE2F3933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" name="Freeform 227">
            <a:extLst>
              <a:ext uri="{FF2B5EF4-FFF2-40B4-BE49-F238E27FC236}">
                <a16:creationId xmlns:a16="http://schemas.microsoft.com/office/drawing/2014/main" id="{F4059F66-8CD6-44A2-880D-54A4AF5B720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" name="Freeform 228">
            <a:extLst>
              <a:ext uri="{FF2B5EF4-FFF2-40B4-BE49-F238E27FC236}">
                <a16:creationId xmlns:a16="http://schemas.microsoft.com/office/drawing/2014/main" id="{2FFAD3F4-E4A8-49E8-91E8-164670E05B62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6" name="Freeform 229">
            <a:extLst>
              <a:ext uri="{FF2B5EF4-FFF2-40B4-BE49-F238E27FC236}">
                <a16:creationId xmlns:a16="http://schemas.microsoft.com/office/drawing/2014/main" id="{F77812FB-07FC-4658-AAE3-6766400F404F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7" name="Freeform 230">
            <a:extLst>
              <a:ext uri="{FF2B5EF4-FFF2-40B4-BE49-F238E27FC236}">
                <a16:creationId xmlns:a16="http://schemas.microsoft.com/office/drawing/2014/main" id="{52034A59-76D4-4593-977D-1D3C86D03EFB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" name="Freeform 231">
            <a:extLst>
              <a:ext uri="{FF2B5EF4-FFF2-40B4-BE49-F238E27FC236}">
                <a16:creationId xmlns:a16="http://schemas.microsoft.com/office/drawing/2014/main" id="{5F428FC3-BD8F-4155-97CC-6C212AD56DC2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" name="Freeform 232">
            <a:extLst>
              <a:ext uri="{FF2B5EF4-FFF2-40B4-BE49-F238E27FC236}">
                <a16:creationId xmlns:a16="http://schemas.microsoft.com/office/drawing/2014/main" id="{D4AFB935-819F-4021-9924-80004082D57E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Freeform 233">
            <a:extLst>
              <a:ext uri="{FF2B5EF4-FFF2-40B4-BE49-F238E27FC236}">
                <a16:creationId xmlns:a16="http://schemas.microsoft.com/office/drawing/2014/main" id="{9B0D2B55-1D79-418A-8909-34CA805DA69B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Freeform 234">
            <a:extLst>
              <a:ext uri="{FF2B5EF4-FFF2-40B4-BE49-F238E27FC236}">
                <a16:creationId xmlns:a16="http://schemas.microsoft.com/office/drawing/2014/main" id="{FE3E5A4D-1D4D-4BE7-9CE5-352DBCB67048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" name="Freeform 235">
            <a:extLst>
              <a:ext uri="{FF2B5EF4-FFF2-40B4-BE49-F238E27FC236}">
                <a16:creationId xmlns:a16="http://schemas.microsoft.com/office/drawing/2014/main" id="{F0F529E0-BFD8-4154-8424-09F78282855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3" name="Freeform 236">
            <a:extLst>
              <a:ext uri="{FF2B5EF4-FFF2-40B4-BE49-F238E27FC236}">
                <a16:creationId xmlns:a16="http://schemas.microsoft.com/office/drawing/2014/main" id="{63C9A6B6-36AF-4D4F-B558-44F17C080A27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Freeform 237">
            <a:extLst>
              <a:ext uri="{FF2B5EF4-FFF2-40B4-BE49-F238E27FC236}">
                <a16:creationId xmlns:a16="http://schemas.microsoft.com/office/drawing/2014/main" id="{A6E4D3FA-AEE9-418F-B92C-A9C8B8891741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5" name="Freeform 238">
            <a:extLst>
              <a:ext uri="{FF2B5EF4-FFF2-40B4-BE49-F238E27FC236}">
                <a16:creationId xmlns:a16="http://schemas.microsoft.com/office/drawing/2014/main" id="{9382DC58-EC6D-4D0B-B194-441D40F06CBB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Freeform 239">
            <a:extLst>
              <a:ext uri="{FF2B5EF4-FFF2-40B4-BE49-F238E27FC236}">
                <a16:creationId xmlns:a16="http://schemas.microsoft.com/office/drawing/2014/main" id="{4B18921B-7A82-42F4-848C-9E01EE238E41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Freeform 240">
            <a:extLst>
              <a:ext uri="{FF2B5EF4-FFF2-40B4-BE49-F238E27FC236}">
                <a16:creationId xmlns:a16="http://schemas.microsoft.com/office/drawing/2014/main" id="{6AE03ECD-B257-4DB3-8854-CB10B1856F26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8" name="Freeform 241">
            <a:extLst>
              <a:ext uri="{FF2B5EF4-FFF2-40B4-BE49-F238E27FC236}">
                <a16:creationId xmlns:a16="http://schemas.microsoft.com/office/drawing/2014/main" id="{F849C224-45A7-40C4-9452-50C219A8820E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9" name="Freeform 242">
            <a:extLst>
              <a:ext uri="{FF2B5EF4-FFF2-40B4-BE49-F238E27FC236}">
                <a16:creationId xmlns:a16="http://schemas.microsoft.com/office/drawing/2014/main" id="{F2D9EA48-20C4-4926-B1A0-FB290B6713B4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0" name="Freeform 243">
            <a:extLst>
              <a:ext uri="{FF2B5EF4-FFF2-40B4-BE49-F238E27FC236}">
                <a16:creationId xmlns:a16="http://schemas.microsoft.com/office/drawing/2014/main" id="{6C759338-5D7D-414F-B4D0-ABB9CAEA73CE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1" name="Freeform 244">
            <a:extLst>
              <a:ext uri="{FF2B5EF4-FFF2-40B4-BE49-F238E27FC236}">
                <a16:creationId xmlns:a16="http://schemas.microsoft.com/office/drawing/2014/main" id="{E9CF9EC8-B0FA-426A-A878-8DF7D8A389D6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2" name="Freeform 245">
            <a:extLst>
              <a:ext uri="{FF2B5EF4-FFF2-40B4-BE49-F238E27FC236}">
                <a16:creationId xmlns:a16="http://schemas.microsoft.com/office/drawing/2014/main" id="{7A416F64-A9C2-4D59-A4FB-D6B4E471835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3" name="Freeform 246">
            <a:extLst>
              <a:ext uri="{FF2B5EF4-FFF2-40B4-BE49-F238E27FC236}">
                <a16:creationId xmlns:a16="http://schemas.microsoft.com/office/drawing/2014/main" id="{2B87EEA1-2F57-4D64-BD19-1514A9AA6441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4" name="Freeform 247">
            <a:extLst>
              <a:ext uri="{FF2B5EF4-FFF2-40B4-BE49-F238E27FC236}">
                <a16:creationId xmlns:a16="http://schemas.microsoft.com/office/drawing/2014/main" id="{0206BF93-4D86-4FC5-B5A1-F4D646721936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5" name="Freeform 248">
            <a:extLst>
              <a:ext uri="{FF2B5EF4-FFF2-40B4-BE49-F238E27FC236}">
                <a16:creationId xmlns:a16="http://schemas.microsoft.com/office/drawing/2014/main" id="{7448FBF9-927B-4132-9C60-EF56D0333FA5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" name="Freeform 249">
            <a:extLst>
              <a:ext uri="{FF2B5EF4-FFF2-40B4-BE49-F238E27FC236}">
                <a16:creationId xmlns:a16="http://schemas.microsoft.com/office/drawing/2014/main" id="{3FA0F636-FFAB-441D-9062-3180FBFF6EBA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7" name="Freeform 250">
            <a:extLst>
              <a:ext uri="{FF2B5EF4-FFF2-40B4-BE49-F238E27FC236}">
                <a16:creationId xmlns:a16="http://schemas.microsoft.com/office/drawing/2014/main" id="{2728568C-3436-4C9D-B9C1-825D9E567A5D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8" name="Freeform 251">
            <a:extLst>
              <a:ext uri="{FF2B5EF4-FFF2-40B4-BE49-F238E27FC236}">
                <a16:creationId xmlns:a16="http://schemas.microsoft.com/office/drawing/2014/main" id="{E6CF9038-2C80-41A6-94BC-50BBD1CAA881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9" name="Freeform 252">
            <a:extLst>
              <a:ext uri="{FF2B5EF4-FFF2-40B4-BE49-F238E27FC236}">
                <a16:creationId xmlns:a16="http://schemas.microsoft.com/office/drawing/2014/main" id="{2DD733FA-38B9-4BA2-B9E6-82EBEE85F868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0" name="Freeform 253">
            <a:extLst>
              <a:ext uri="{FF2B5EF4-FFF2-40B4-BE49-F238E27FC236}">
                <a16:creationId xmlns:a16="http://schemas.microsoft.com/office/drawing/2014/main" id="{3C9B9565-D3E8-4174-A913-091D9A1C451B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1" name="Freeform 254">
            <a:extLst>
              <a:ext uri="{FF2B5EF4-FFF2-40B4-BE49-F238E27FC236}">
                <a16:creationId xmlns:a16="http://schemas.microsoft.com/office/drawing/2014/main" id="{CE1082C9-C35F-408D-9C85-62A4117AF5BB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2" name="Freeform 255">
            <a:extLst>
              <a:ext uri="{FF2B5EF4-FFF2-40B4-BE49-F238E27FC236}">
                <a16:creationId xmlns:a16="http://schemas.microsoft.com/office/drawing/2014/main" id="{8CF1A89A-D5E4-44D1-A81E-39325787283C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3" name="Freeform 256">
            <a:extLst>
              <a:ext uri="{FF2B5EF4-FFF2-40B4-BE49-F238E27FC236}">
                <a16:creationId xmlns:a16="http://schemas.microsoft.com/office/drawing/2014/main" id="{8B0CA435-ACC7-4FD5-9C9C-FA1262A2C323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4" name="Freeform 257">
            <a:extLst>
              <a:ext uri="{FF2B5EF4-FFF2-40B4-BE49-F238E27FC236}">
                <a16:creationId xmlns:a16="http://schemas.microsoft.com/office/drawing/2014/main" id="{BC216BD6-3964-4876-A107-C006F84112DA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5" name="Freeform 258">
            <a:extLst>
              <a:ext uri="{FF2B5EF4-FFF2-40B4-BE49-F238E27FC236}">
                <a16:creationId xmlns:a16="http://schemas.microsoft.com/office/drawing/2014/main" id="{0AEB6FB7-3F4A-451A-8820-3832459A130A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Freeform 259">
            <a:extLst>
              <a:ext uri="{FF2B5EF4-FFF2-40B4-BE49-F238E27FC236}">
                <a16:creationId xmlns:a16="http://schemas.microsoft.com/office/drawing/2014/main" id="{6FAEF2CB-4523-46E6-BF8A-1E7545E30549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7191D1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7" name="Freeform 260">
            <a:extLst>
              <a:ext uri="{FF2B5EF4-FFF2-40B4-BE49-F238E27FC236}">
                <a16:creationId xmlns:a16="http://schemas.microsoft.com/office/drawing/2014/main" id="{0239DF2D-150D-47F7-81D0-C02ADFCCC09E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8" name="Freeform 261">
            <a:extLst>
              <a:ext uri="{FF2B5EF4-FFF2-40B4-BE49-F238E27FC236}">
                <a16:creationId xmlns:a16="http://schemas.microsoft.com/office/drawing/2014/main" id="{A6B15975-9BF5-497B-8828-F7F96DDB9678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Freeform 262">
            <a:extLst>
              <a:ext uri="{FF2B5EF4-FFF2-40B4-BE49-F238E27FC236}">
                <a16:creationId xmlns:a16="http://schemas.microsoft.com/office/drawing/2014/main" id="{D6FE1D06-324E-4538-B42F-50E43DF47E8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Freeform 263">
            <a:extLst>
              <a:ext uri="{FF2B5EF4-FFF2-40B4-BE49-F238E27FC236}">
                <a16:creationId xmlns:a16="http://schemas.microsoft.com/office/drawing/2014/main" id="{0E85BB07-8A3B-42F3-BF00-734A1D005C45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solidFill>
            <a:srgbClr val="F2F2F2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1" name="Freeform 264">
            <a:extLst>
              <a:ext uri="{FF2B5EF4-FFF2-40B4-BE49-F238E27FC236}">
                <a16:creationId xmlns:a16="http://schemas.microsoft.com/office/drawing/2014/main" id="{72E897BA-5AC2-4D2A-8023-EE4F9FBC9327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2" name="Freeform 265">
            <a:extLst>
              <a:ext uri="{FF2B5EF4-FFF2-40B4-BE49-F238E27FC236}">
                <a16:creationId xmlns:a16="http://schemas.microsoft.com/office/drawing/2014/main" id="{8FB11F28-B0D8-47C1-938F-A2AE9BC0E266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3" name="Freeform 266">
            <a:extLst>
              <a:ext uri="{FF2B5EF4-FFF2-40B4-BE49-F238E27FC236}">
                <a16:creationId xmlns:a16="http://schemas.microsoft.com/office/drawing/2014/main" id="{A8EA0E96-2F9D-4E52-8268-591498E5BC7D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Freeform 267">
            <a:extLst>
              <a:ext uri="{FF2B5EF4-FFF2-40B4-BE49-F238E27FC236}">
                <a16:creationId xmlns:a16="http://schemas.microsoft.com/office/drawing/2014/main" id="{F25634BD-D69E-473C-B079-44087595D35B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5" name="Freeform 268">
            <a:extLst>
              <a:ext uri="{FF2B5EF4-FFF2-40B4-BE49-F238E27FC236}">
                <a16:creationId xmlns:a16="http://schemas.microsoft.com/office/drawing/2014/main" id="{A703C9E0-01E8-404E-9DA1-698768E29AC9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6" name="Freeform 269">
            <a:extLst>
              <a:ext uri="{FF2B5EF4-FFF2-40B4-BE49-F238E27FC236}">
                <a16:creationId xmlns:a16="http://schemas.microsoft.com/office/drawing/2014/main" id="{A61F8EFC-E525-41A8-8291-BFAB76324FAA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7" name="Freeform 270">
            <a:extLst>
              <a:ext uri="{FF2B5EF4-FFF2-40B4-BE49-F238E27FC236}">
                <a16:creationId xmlns:a16="http://schemas.microsoft.com/office/drawing/2014/main" id="{9E37A2F5-BFCC-451E-9C36-41F9544A97D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315397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8" name="Freeform 271">
            <a:extLst>
              <a:ext uri="{FF2B5EF4-FFF2-40B4-BE49-F238E27FC236}">
                <a16:creationId xmlns:a16="http://schemas.microsoft.com/office/drawing/2014/main" id="{74AF8986-15FE-4DEA-AD57-6011920532E4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9" name="Freeform 272">
            <a:extLst>
              <a:ext uri="{FF2B5EF4-FFF2-40B4-BE49-F238E27FC236}">
                <a16:creationId xmlns:a16="http://schemas.microsoft.com/office/drawing/2014/main" id="{082990D4-F3F4-4E1F-A3DD-DF4D8F30C26D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0" name="Freeform 273">
            <a:extLst>
              <a:ext uri="{FF2B5EF4-FFF2-40B4-BE49-F238E27FC236}">
                <a16:creationId xmlns:a16="http://schemas.microsoft.com/office/drawing/2014/main" id="{A4F6EA75-4F6B-4787-B71F-E5878E3A0297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1" name="Freeform 274">
            <a:extLst>
              <a:ext uri="{FF2B5EF4-FFF2-40B4-BE49-F238E27FC236}">
                <a16:creationId xmlns:a16="http://schemas.microsoft.com/office/drawing/2014/main" id="{5EA7C0AA-55AE-4DBA-81B1-D0BA181F55DA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F2F2F2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2" name="Freeform 275">
            <a:extLst>
              <a:ext uri="{FF2B5EF4-FFF2-40B4-BE49-F238E27FC236}">
                <a16:creationId xmlns:a16="http://schemas.microsoft.com/office/drawing/2014/main" id="{9CF13C67-4633-4241-AA47-4298CC15437A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3" name="Freeform 276">
            <a:extLst>
              <a:ext uri="{FF2B5EF4-FFF2-40B4-BE49-F238E27FC236}">
                <a16:creationId xmlns:a16="http://schemas.microsoft.com/office/drawing/2014/main" id="{4A155FF8-F79B-47E2-9E26-92BA2E00F991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4" name="Freeform 277">
            <a:extLst>
              <a:ext uri="{FF2B5EF4-FFF2-40B4-BE49-F238E27FC236}">
                <a16:creationId xmlns:a16="http://schemas.microsoft.com/office/drawing/2014/main" id="{1F8935AB-3A30-41C8-96CC-C7D71B9DD30F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5" name="Freeform 278">
            <a:extLst>
              <a:ext uri="{FF2B5EF4-FFF2-40B4-BE49-F238E27FC236}">
                <a16:creationId xmlns:a16="http://schemas.microsoft.com/office/drawing/2014/main" id="{F86E65A0-0A2C-4CC7-B2F3-947E0D4242C2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6" name="Freeform 279">
            <a:extLst>
              <a:ext uri="{FF2B5EF4-FFF2-40B4-BE49-F238E27FC236}">
                <a16:creationId xmlns:a16="http://schemas.microsoft.com/office/drawing/2014/main" id="{44EFCD4A-45DE-410A-A3C4-B972FAF93F0A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7" name="Freeform 280">
            <a:extLst>
              <a:ext uri="{FF2B5EF4-FFF2-40B4-BE49-F238E27FC236}">
                <a16:creationId xmlns:a16="http://schemas.microsoft.com/office/drawing/2014/main" id="{54478A0B-92C7-4C7C-985F-89EBB8B53B8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8" name="Freeform 281">
            <a:extLst>
              <a:ext uri="{FF2B5EF4-FFF2-40B4-BE49-F238E27FC236}">
                <a16:creationId xmlns:a16="http://schemas.microsoft.com/office/drawing/2014/main" id="{9F5AD7C4-6623-4CB5-A55F-4B6DDFA9337C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9" name="Freeform 282">
            <a:extLst>
              <a:ext uri="{FF2B5EF4-FFF2-40B4-BE49-F238E27FC236}">
                <a16:creationId xmlns:a16="http://schemas.microsoft.com/office/drawing/2014/main" id="{9A809131-3D8C-4483-8E72-095B1A36DDEA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0" name="Freeform 283">
            <a:extLst>
              <a:ext uri="{FF2B5EF4-FFF2-40B4-BE49-F238E27FC236}">
                <a16:creationId xmlns:a16="http://schemas.microsoft.com/office/drawing/2014/main" id="{05D02C98-11ED-443F-93A8-3C18DAF8E1F0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1" name="Freeform 284">
            <a:extLst>
              <a:ext uri="{FF2B5EF4-FFF2-40B4-BE49-F238E27FC236}">
                <a16:creationId xmlns:a16="http://schemas.microsoft.com/office/drawing/2014/main" id="{1CB6C04B-6EE9-4766-AAD1-94E024D85B73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2" name="Freeform 285">
            <a:extLst>
              <a:ext uri="{FF2B5EF4-FFF2-40B4-BE49-F238E27FC236}">
                <a16:creationId xmlns:a16="http://schemas.microsoft.com/office/drawing/2014/main" id="{08A93988-5B41-411B-A655-B945FFA7C986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3" name="Freeform 286">
            <a:extLst>
              <a:ext uri="{FF2B5EF4-FFF2-40B4-BE49-F238E27FC236}">
                <a16:creationId xmlns:a16="http://schemas.microsoft.com/office/drawing/2014/main" id="{8724B12F-6731-4838-ACEE-65D95324E650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4" name="Freeform 287">
            <a:extLst>
              <a:ext uri="{FF2B5EF4-FFF2-40B4-BE49-F238E27FC236}">
                <a16:creationId xmlns:a16="http://schemas.microsoft.com/office/drawing/2014/main" id="{F94AEE6A-2E40-4982-BABA-35028205E985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5" name="Freeform 288">
            <a:extLst>
              <a:ext uri="{FF2B5EF4-FFF2-40B4-BE49-F238E27FC236}">
                <a16:creationId xmlns:a16="http://schemas.microsoft.com/office/drawing/2014/main" id="{F5124FB5-1020-4708-90B7-B38F35C8A667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6" name="Freeform 289">
            <a:extLst>
              <a:ext uri="{FF2B5EF4-FFF2-40B4-BE49-F238E27FC236}">
                <a16:creationId xmlns:a16="http://schemas.microsoft.com/office/drawing/2014/main" id="{463EE6D5-0306-436E-9E9F-1BE32A367BFC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7" name="Freeform 290">
            <a:extLst>
              <a:ext uri="{FF2B5EF4-FFF2-40B4-BE49-F238E27FC236}">
                <a16:creationId xmlns:a16="http://schemas.microsoft.com/office/drawing/2014/main" id="{B2DAB78F-F125-437E-9EFA-DC3D3F09042B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F2F2F2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8" name="Freeform 291">
            <a:extLst>
              <a:ext uri="{FF2B5EF4-FFF2-40B4-BE49-F238E27FC236}">
                <a16:creationId xmlns:a16="http://schemas.microsoft.com/office/drawing/2014/main" id="{A4DFD73F-B4C1-4923-A898-65A921BAE8A9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9" name="Freeform 292">
            <a:extLst>
              <a:ext uri="{FF2B5EF4-FFF2-40B4-BE49-F238E27FC236}">
                <a16:creationId xmlns:a16="http://schemas.microsoft.com/office/drawing/2014/main" id="{0BFB0321-78B8-4AFC-B7BC-51A36D2A18F9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0" name="Freeform 293">
            <a:extLst>
              <a:ext uri="{FF2B5EF4-FFF2-40B4-BE49-F238E27FC236}">
                <a16:creationId xmlns:a16="http://schemas.microsoft.com/office/drawing/2014/main" id="{0162E864-9FAE-47BE-9CB3-0153C4C77351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1" name="Rectangle 294">
            <a:extLst>
              <a:ext uri="{FF2B5EF4-FFF2-40B4-BE49-F238E27FC236}">
                <a16:creationId xmlns:a16="http://schemas.microsoft.com/office/drawing/2014/main" id="{C28D643E-EE62-4E3C-8116-CD34AA13B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743" y="4658674"/>
            <a:ext cx="3342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C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2" name="Rectangle 295">
            <a:extLst>
              <a:ext uri="{FF2B5EF4-FFF2-40B4-BE49-F238E27FC236}">
                <a16:creationId xmlns:a16="http://schemas.microsoft.com/office/drawing/2014/main" id="{D32E63CA-123B-424D-8D10-1741A98CE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1844" y="5609045"/>
            <a:ext cx="326653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HC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3" name="Rectangle 296">
            <a:extLst>
              <a:ext uri="{FF2B5EF4-FFF2-40B4-BE49-F238E27FC236}">
                <a16:creationId xmlns:a16="http://schemas.microsoft.com/office/drawing/2014/main" id="{BA08BA65-FA7B-4BE3-B75B-C40EBD1781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1615" y="4929613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4" name="Rectangle 297">
            <a:extLst>
              <a:ext uri="{FF2B5EF4-FFF2-40B4-BE49-F238E27FC236}">
                <a16:creationId xmlns:a16="http://schemas.microsoft.com/office/drawing/2014/main" id="{879AE9DB-9E6F-465B-81C7-754B6797DF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7548" y="5586119"/>
            <a:ext cx="324960" cy="19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M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5" name="Rectangle 298">
            <a:extLst>
              <a:ext uri="{FF2B5EF4-FFF2-40B4-BE49-F238E27FC236}">
                <a16:creationId xmlns:a16="http://schemas.microsoft.com/office/drawing/2014/main" id="{943662ED-FDBA-4F9B-8CA5-9CA4527719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5453" y="5146365"/>
            <a:ext cx="3304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YS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6" name="Rectangle 299">
            <a:extLst>
              <a:ext uri="{FF2B5EF4-FFF2-40B4-BE49-F238E27FC236}">
                <a16:creationId xmlns:a16="http://schemas.microsoft.com/office/drawing/2014/main" id="{1CAD1657-3C71-431E-8EEB-C76D9638C4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5071" y="5367284"/>
            <a:ext cx="226000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7" name="Rectangle 300">
            <a:extLst>
              <a:ext uri="{FF2B5EF4-FFF2-40B4-BE49-F238E27FC236}">
                <a16:creationId xmlns:a16="http://schemas.microsoft.com/office/drawing/2014/main" id="{40D68B8A-61C7-45E5-88C6-8D5059947A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8184" y="3674956"/>
            <a:ext cx="239292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8" name="Rectangle 301">
            <a:extLst>
              <a:ext uri="{FF2B5EF4-FFF2-40B4-BE49-F238E27FC236}">
                <a16:creationId xmlns:a16="http://schemas.microsoft.com/office/drawing/2014/main" id="{A7934045-FC72-49D0-848D-9FFC3A977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06262" y="4539877"/>
            <a:ext cx="35324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SK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9" name="Rectangle 302">
            <a:extLst>
              <a:ext uri="{FF2B5EF4-FFF2-40B4-BE49-F238E27FC236}">
                <a16:creationId xmlns:a16="http://schemas.microsoft.com/office/drawing/2014/main" id="{62583F7F-B66A-4E21-8F46-70740F68CC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23225" y="4917108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0" name="Rectangle 303">
            <a:extLst>
              <a:ext uri="{FF2B5EF4-FFF2-40B4-BE49-F238E27FC236}">
                <a16:creationId xmlns:a16="http://schemas.microsoft.com/office/drawing/2014/main" id="{9B850361-0A99-41C5-9F6A-992542928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2256" y="447318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1" name="Rectangle 304">
            <a:extLst>
              <a:ext uri="{FF2B5EF4-FFF2-40B4-BE49-F238E27FC236}">
                <a16:creationId xmlns:a16="http://schemas.microsoft.com/office/drawing/2014/main" id="{2729B6C3-6722-4756-80EF-C4E3381A0B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0524" y="3847923"/>
            <a:ext cx="252588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K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2" name="Rectangle 305">
            <a:extLst>
              <a:ext uri="{FF2B5EF4-FFF2-40B4-BE49-F238E27FC236}">
                <a16:creationId xmlns:a16="http://schemas.microsoft.com/office/drawing/2014/main" id="{5529669F-886B-4D6A-ABB4-DC5297C092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1614" y="3373340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B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3" name="Rectangle 306">
            <a:extLst>
              <a:ext uri="{FF2B5EF4-FFF2-40B4-BE49-F238E27FC236}">
                <a16:creationId xmlns:a16="http://schemas.microsoft.com/office/drawing/2014/main" id="{178AB1FC-887A-4690-A016-B3D384B42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660" y="407094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V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4" name="Rectangle 307">
            <a:extLst>
              <a:ext uri="{FF2B5EF4-FFF2-40B4-BE49-F238E27FC236}">
                <a16:creationId xmlns:a16="http://schemas.microsoft.com/office/drawing/2014/main" id="{8DAABAA8-62E8-4559-8C30-5D6C13A941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2852" y="4256433"/>
            <a:ext cx="341846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HA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6" name="TextBox 7">
            <a:extLst>
              <a:ext uri="{FF2B5EF4-FFF2-40B4-BE49-F238E27FC236}">
                <a16:creationId xmlns:a16="http://schemas.microsoft.com/office/drawing/2014/main" id="{26B45494-8F6C-4C0C-ACA6-ADCA4E105859}"/>
              </a:ext>
            </a:extLst>
          </p:cNvPr>
          <p:cNvSpPr txBox="1"/>
          <p:nvPr/>
        </p:nvSpPr>
        <p:spPr>
          <a:xfrm>
            <a:off x="1319629" y="1136585"/>
            <a:ext cx="39581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0 obyvatel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7EB195F-BFA8-4945-B916-741F39DC621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162255" y="1223938"/>
          <a:ext cx="730372" cy="5192955"/>
        </p:xfrm>
        <a:graphic>
          <a:graphicData uri="http://schemas.openxmlformats.org/drawingml/2006/table">
            <a:tbl>
              <a:tblPr/>
              <a:tblGrid>
                <a:gridCol w="730372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kcino-vaných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6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 3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 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5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 0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 8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3 6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 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 6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 6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 1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1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 6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 0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 9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99" name="TextBox 6">
            <a:extLst>
              <a:ext uri="{FF2B5EF4-FFF2-40B4-BE49-F238E27FC236}">
                <a16:creationId xmlns:a16="http://schemas.microsoft.com/office/drawing/2014/main" id="{73476168-D2D4-4361-B47E-C7DC4CD0CECD}"/>
              </a:ext>
            </a:extLst>
          </p:cNvPr>
          <p:cNvSpPr txBox="1"/>
          <p:nvPr/>
        </p:nvSpPr>
        <p:spPr>
          <a:xfrm>
            <a:off x="5810250" y="99623"/>
            <a:ext cx="2388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7. 4. 2021</a:t>
            </a:r>
          </a:p>
        </p:txBody>
      </p:sp>
      <p:sp>
        <p:nvSpPr>
          <p:cNvPr id="108" name="TextovéPole 107"/>
          <p:cNvSpPr txBox="1"/>
          <p:nvPr/>
        </p:nvSpPr>
        <p:spPr>
          <a:xfrm>
            <a:off x="783996" y="697148"/>
            <a:ext cx="3321565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unikátních osob (nikoli dávek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E91BDFE-6512-417D-AECA-5707BFBB91D5}"/>
              </a:ext>
            </a:extLst>
          </p:cNvPr>
          <p:cNvSpPr/>
          <p:nvPr/>
        </p:nvSpPr>
        <p:spPr>
          <a:xfrm>
            <a:off x="1214957" y="6481378"/>
            <a:ext cx="459452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dliště není uvedeno u 23 278 osob z počáteční fáze vakcinace</a:t>
            </a:r>
          </a:p>
        </p:txBody>
      </p:sp>
      <p:sp>
        <p:nvSpPr>
          <p:cNvPr id="103" name="Obdélník 102">
            <a:extLst>
              <a:ext uri="{FF2B5EF4-FFF2-40B4-BE49-F238E27FC236}">
                <a16:creationId xmlns:a16="http://schemas.microsoft.com/office/drawing/2014/main" id="{F994E4CD-FA4E-4A9F-877A-7C82D4A14E12}"/>
              </a:ext>
            </a:extLst>
          </p:cNvPr>
          <p:cNvSpPr/>
          <p:nvPr/>
        </p:nvSpPr>
        <p:spPr>
          <a:xfrm>
            <a:off x="6841454" y="6583680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</p:spTree>
    <p:extLst>
      <p:ext uri="{BB962C8B-B14F-4D97-AF65-F5344CB8AC3E}">
        <p14:creationId xmlns:p14="http://schemas.microsoft.com/office/powerpoint/2010/main" val="8027189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2400" dirty="0" smtClean="0"/>
              <a:t>Postup očkování </a:t>
            </a:r>
            <a:endParaRPr lang="cs-CZ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. 4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66718" y="1011288"/>
            <a:ext cx="11189401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ání v prioritních skupinách dosahuje významného populačního pokrytí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espoň jednou dávkou je očkováno: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Šipka dolů 3"/>
          <p:cNvSpPr/>
          <p:nvPr/>
        </p:nvSpPr>
        <p:spPr>
          <a:xfrm>
            <a:off x="5579136" y="3176562"/>
            <a:ext cx="1164566" cy="6642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677689" y="4172706"/>
            <a:ext cx="1096745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3% občanů ve věku 80+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8% občanů ve věku 70 - 7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9% občanů ve věku 65 - 69 </a:t>
            </a:r>
          </a:p>
        </p:txBody>
      </p:sp>
    </p:spTree>
    <p:extLst>
      <p:ext uri="{BB962C8B-B14F-4D97-AF65-F5344CB8AC3E}">
        <p14:creationId xmlns:p14="http://schemas.microsoft.com/office/powerpoint/2010/main" val="3441461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Prioritní skupiny pro očkování – aplikované dávky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211899" y="3171829"/>
            <a:ext cx="4988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aplikovaných dávek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>
            <p:extLst/>
          </p:nvPr>
        </p:nvGraphicFramePr>
        <p:xfrm>
          <a:off x="561974" y="759913"/>
          <a:ext cx="11377929" cy="5818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165019" y="989595"/>
          <a:ext cx="2774884" cy="4646832"/>
        </p:xfrm>
        <a:graphic>
          <a:graphicData uri="http://schemas.openxmlformats.org/drawingml/2006/table">
            <a:tbl>
              <a:tblPr/>
              <a:tblGrid>
                <a:gridCol w="1998153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776731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08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 ve věku 70-79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4 3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08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 ve věku 80+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9 9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08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dravotničtí pracovníci / ochrana veřejného zdraví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1 1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  <a:tr h="5808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 ve věku 65-69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 4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415959"/>
                  </a:ext>
                </a:extLst>
              </a:tr>
              <a:tr h="5808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acovníci ve škols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 4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106629"/>
                  </a:ext>
                </a:extLst>
              </a:tr>
              <a:tr h="5808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 2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9445733"/>
                  </a:ext>
                </a:extLst>
              </a:tr>
              <a:tr h="5808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acovníci a klienti v sociálních službá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 2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989975"/>
                  </a:ext>
                </a:extLst>
              </a:tr>
              <a:tr h="5808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ronicky nemoc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 3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221812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442835BF-F101-4F84-B183-D210FFF048AE}"/>
              </a:ext>
            </a:extLst>
          </p:cNvPr>
          <p:cNvSpPr/>
          <p:nvPr/>
        </p:nvSpPr>
        <p:spPr>
          <a:xfrm>
            <a:off x="9064604" y="5974976"/>
            <a:ext cx="276296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racovníci kritické infrastruktury a ostatní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F2F30761-04A3-420D-862F-AD03D34803D6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</p:spTree>
    <p:extLst>
      <p:ext uri="{BB962C8B-B14F-4D97-AF65-F5344CB8AC3E}">
        <p14:creationId xmlns:p14="http://schemas.microsoft.com/office/powerpoint/2010/main" val="3067424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7. 4. 2021</a:t>
            </a:r>
          </a:p>
        </p:txBody>
      </p:sp>
      <p:sp>
        <p:nvSpPr>
          <p:cNvPr id="4" name="Šipka dolů 3"/>
          <p:cNvSpPr/>
          <p:nvPr/>
        </p:nvSpPr>
        <p:spPr>
          <a:xfrm>
            <a:off x="5449172" y="150413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5" y="5532924"/>
            <a:ext cx="1118940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ání v těchto profesních kategoriích podstatně snížilo denní počet registrovaných nových nákaz  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2939748"/>
              </p:ext>
            </p:extLst>
          </p:nvPr>
        </p:nvGraphicFramePr>
        <p:xfrm>
          <a:off x="356585" y="113214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2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2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8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7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9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4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0 0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9 3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6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759276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27. 4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25815" y="370259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808757" y="353332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 denní klouzavý průměr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25815" y="399787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4336121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415990887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D48422-1472-2B43-AFF4-50C66979E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47" y="2069359"/>
            <a:ext cx="11490037" cy="1325563"/>
          </a:xfrm>
        </p:spPr>
        <p:txBody>
          <a:bodyPr>
            <a:noAutofit/>
          </a:bodyPr>
          <a:lstStyle/>
          <a:p>
            <a:pPr algn="ctr"/>
            <a:r>
              <a:rPr lang="en-CZ" sz="3400" b="1" dirty="0"/>
              <a:t/>
            </a:r>
            <a:br>
              <a:rPr lang="en-CZ" sz="3400" b="1" dirty="0"/>
            </a:br>
            <a:r>
              <a:rPr lang="cs-CZ" sz="6000" b="1" dirty="0">
                <a:latin typeface="+mn-lt"/>
              </a:rPr>
              <a:t>DĚKUJI ZA POZORNOST</a:t>
            </a:r>
            <a:endParaRPr lang="en-CZ" sz="6000" b="1" dirty="0"/>
          </a:p>
        </p:txBody>
      </p:sp>
    </p:spTree>
    <p:extLst>
      <p:ext uri="{BB962C8B-B14F-4D97-AF65-F5344CB8AC3E}">
        <p14:creationId xmlns:p14="http://schemas.microsoft.com/office/powerpoint/2010/main" val="5171583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Vývoj v regionech </a:t>
            </a:r>
          </a:p>
          <a:p>
            <a:r>
              <a:rPr lang="cs-CZ" sz="4800" b="1" i="1" dirty="0"/>
              <a:t>- Identifikace rizik -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38004838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77585" y="2771954"/>
            <a:ext cx="115614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šak v důsledku nově přijatých opatření a vlivem důslednějšího dodržování všech opatření byl růst epidemie na Moravě a Slezsku významně slabší (až o 40%) než v nejvíce zasažených částech Čech. </a:t>
            </a: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ejší šíření epidemie zasáhlo jednotlivé regiony postupně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dříve a nejvíce byl zasažen západ a sever Čech, ší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ále postupovalo na východ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99349" y="211311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199349" y="474691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108877" y="3233618"/>
            <a:ext cx="337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11675768" y="3233617"/>
            <a:ext cx="337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</a:p>
        </p:txBody>
      </p:sp>
      <p:sp>
        <p:nvSpPr>
          <p:cNvPr id="10" name="TextovéPole 9"/>
          <p:cNvSpPr txBox="1"/>
          <p:nvPr/>
        </p:nvSpPr>
        <p:spPr>
          <a:xfrm>
            <a:off x="194458" y="5223033"/>
            <a:ext cx="115614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novější data potvrzují setrvale klesající trend i v období po 12.4. Rozdíly mezi regiony se postupně snižují, žádný z region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hodnotách neroste. </a:t>
            </a:r>
          </a:p>
        </p:txBody>
      </p:sp>
    </p:spTree>
    <p:extLst>
      <p:ext uri="{BB962C8B-B14F-4D97-AF65-F5344CB8AC3E}">
        <p14:creationId xmlns:p14="http://schemas.microsoft.com/office/powerpoint/2010/main" val="37578021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</a:t>
            </a:r>
            <a:r>
              <a:rPr lang="pl-PL" dirty="0" smtClean="0"/>
              <a:t>27.4</a:t>
            </a:r>
            <a:r>
              <a:rPr lang="pl-PL" dirty="0"/>
              <a:t>.</a:t>
            </a:r>
            <a:r>
              <a:rPr lang="cs-CZ" dirty="0"/>
              <a:t> 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7013277" y="1679685"/>
            <a:ext cx="4986068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regiony stále existují významné rozdíly, které stále odpovídají gradientu rostoucího rizika „západ -&gt; východ“ země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srgbClr val="000000"/>
              </a:solidFill>
              <a:latin typeface="Arial" panose="020B0604020202020204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 mezinárodně používanou hranici 100 nových případů na  100 tis. obyvatel nebo těsně k ní dlouhodobě klesly hodnoty v Karlovarském, Královéhradeckém a v Plzeňském kraji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latin typeface="Arial" panose="020B0604020202020204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ciálně rizikový je zejména kraj Zlínský. 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9408642"/>
              </p:ext>
            </p:extLst>
          </p:nvPr>
        </p:nvGraphicFramePr>
        <p:xfrm>
          <a:off x="381739" y="861279"/>
          <a:ext cx="6321569" cy="57302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89853">
                  <a:extLst>
                    <a:ext uri="{9D8B030D-6E8A-4147-A177-3AD203B41FA5}">
                      <a16:colId xmlns:a16="http://schemas.microsoft.com/office/drawing/2014/main" val="512677991"/>
                    </a:ext>
                  </a:extLst>
                </a:gridCol>
                <a:gridCol w="1886238">
                  <a:extLst>
                    <a:ext uri="{9D8B030D-6E8A-4147-A177-3AD203B41FA5}">
                      <a16:colId xmlns:a16="http://schemas.microsoft.com/office/drawing/2014/main" val="448647687"/>
                    </a:ext>
                  </a:extLst>
                </a:gridCol>
                <a:gridCol w="1945478">
                  <a:extLst>
                    <a:ext uri="{9D8B030D-6E8A-4147-A177-3AD203B41FA5}">
                      <a16:colId xmlns:a16="http://schemas.microsoft.com/office/drawing/2014/main" val="1412635094"/>
                    </a:ext>
                  </a:extLst>
                </a:gridCol>
              </a:tblGrid>
              <a:tr h="166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b="1" dirty="0" err="1">
                          <a:effectLst/>
                        </a:rPr>
                        <a:t>Název</a:t>
                      </a:r>
                      <a:r>
                        <a:rPr lang="en-US" sz="1800" b="1" dirty="0">
                          <a:effectLst/>
                        </a:rPr>
                        <a:t> </a:t>
                      </a:r>
                      <a:r>
                        <a:rPr lang="en-US" sz="1800" b="1" dirty="0" err="1">
                          <a:effectLst/>
                        </a:rPr>
                        <a:t>kraje</a:t>
                      </a:r>
                      <a:endParaRPr lang="cs-CZ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 err="1">
                          <a:effectLst/>
                        </a:rPr>
                        <a:t>Denní</a:t>
                      </a:r>
                      <a:r>
                        <a:rPr lang="en-US" sz="1800" b="1" dirty="0">
                          <a:effectLst/>
                        </a:rPr>
                        <a:t> </a:t>
                      </a:r>
                      <a:r>
                        <a:rPr lang="en-US" sz="1800" b="1" dirty="0" err="1">
                          <a:effectLst/>
                        </a:rPr>
                        <a:t>počet</a:t>
                      </a:r>
                      <a:r>
                        <a:rPr lang="en-US" sz="1800" b="1" dirty="0">
                          <a:effectLst/>
                        </a:rPr>
                        <a:t> </a:t>
                      </a:r>
                      <a:r>
                        <a:rPr lang="en-US" sz="1800" b="1" dirty="0" err="1">
                          <a:effectLst/>
                        </a:rPr>
                        <a:t>nových</a:t>
                      </a:r>
                      <a:r>
                        <a:rPr lang="en-US" sz="1800" b="1" dirty="0">
                          <a:effectLst/>
                        </a:rPr>
                        <a:t> </a:t>
                      </a:r>
                      <a:r>
                        <a:rPr lang="en-US" sz="1800" b="1" dirty="0" err="1">
                          <a:effectLst/>
                        </a:rPr>
                        <a:t>případů</a:t>
                      </a:r>
                      <a:r>
                        <a:rPr lang="en-US" sz="1800" b="1" dirty="0">
                          <a:effectLst/>
                        </a:rPr>
                        <a:t> (%)</a:t>
                      </a:r>
                      <a:endParaRPr lang="cs-CZ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7denní </a:t>
                      </a:r>
                      <a:r>
                        <a:rPr lang="en-US" sz="1800" b="1" dirty="0" err="1">
                          <a:effectLst/>
                        </a:rPr>
                        <a:t>počet</a:t>
                      </a:r>
                      <a:r>
                        <a:rPr lang="en-US" sz="1800" b="1" dirty="0">
                          <a:effectLst/>
                        </a:rPr>
                        <a:t> </a:t>
                      </a:r>
                      <a:r>
                        <a:rPr lang="en-US" sz="1800" b="1" dirty="0" err="1">
                          <a:effectLst/>
                        </a:rPr>
                        <a:t>nových</a:t>
                      </a:r>
                      <a:r>
                        <a:rPr lang="en-US" sz="1800" b="1" dirty="0">
                          <a:effectLst/>
                        </a:rPr>
                        <a:t> </a:t>
                      </a:r>
                      <a:r>
                        <a:rPr lang="en-US" sz="1800" b="1" dirty="0" err="1">
                          <a:effectLst/>
                        </a:rPr>
                        <a:t>případů</a:t>
                      </a:r>
                      <a:r>
                        <a:rPr lang="en-US" sz="1800" b="1" dirty="0">
                          <a:effectLst/>
                        </a:rPr>
                        <a:t> </a:t>
                      </a:r>
                      <a:r>
                        <a:rPr lang="en-US" sz="1800" b="1" dirty="0" err="1">
                          <a:effectLst/>
                        </a:rPr>
                        <a:t>na</a:t>
                      </a:r>
                      <a:r>
                        <a:rPr lang="en-US" sz="1800" b="1" dirty="0">
                          <a:effectLst/>
                        </a:rPr>
                        <a:t> 100 tis. </a:t>
                      </a:r>
                      <a:r>
                        <a:rPr lang="en-US" sz="1800" b="1" dirty="0" err="1">
                          <a:effectLst/>
                        </a:rPr>
                        <a:t>obyv</a:t>
                      </a:r>
                      <a:r>
                        <a:rPr lang="en-US" sz="1800" b="1" dirty="0">
                          <a:effectLst/>
                        </a:rPr>
                        <a:t>.</a:t>
                      </a:r>
                      <a:endParaRPr lang="cs-CZ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73392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effectLst/>
                        </a:rPr>
                        <a:t>Moravskoslezský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kraj</a:t>
                      </a:r>
                      <a:endParaRPr lang="cs-CZ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481 (14.9 %)</a:t>
                      </a:r>
                      <a:endParaRPr lang="cs-CZ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179.8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377638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effectLst/>
                        </a:rPr>
                        <a:t>Jihomoravský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kraj</a:t>
                      </a:r>
                      <a:endParaRPr lang="cs-CZ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413 (12.8 %)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158.8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822164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Jihočes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342 (10.6 %)</a:t>
                      </a:r>
                      <a:endParaRPr lang="cs-CZ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220.2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9759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Středočes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321 (9.9 %)</a:t>
                      </a:r>
                      <a:endParaRPr lang="cs-CZ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128.9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81507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Ústec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314 (9.7 %)</a:t>
                      </a:r>
                      <a:endParaRPr lang="cs-CZ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182.3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199892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Hlavní město Praha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306 (9.5 %)</a:t>
                      </a:r>
                      <a:endParaRPr lang="cs-CZ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110.9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778952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b="1" dirty="0" err="1">
                          <a:solidFill>
                            <a:srgbClr val="FF0000"/>
                          </a:solidFill>
                          <a:effectLst/>
                        </a:rPr>
                        <a:t>Zlínský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FF0000"/>
                          </a:solidFill>
                          <a:effectLst/>
                        </a:rPr>
                        <a:t>kraj</a:t>
                      </a:r>
                      <a:endParaRPr lang="cs-CZ" sz="18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</a:rPr>
                        <a:t>243 (7.5 %)</a:t>
                      </a:r>
                      <a:endParaRPr lang="cs-CZ" sz="18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</a:rPr>
                        <a:t>252.0</a:t>
                      </a:r>
                      <a:endParaRPr lang="cs-CZ" sz="18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907381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Olomouc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221 (6.8 %)</a:t>
                      </a:r>
                      <a:endParaRPr lang="cs-CZ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184.5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1822055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Kraj Vysočina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213 (6.6 %)</a:t>
                      </a:r>
                      <a:endParaRPr lang="cs-CZ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186.3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4748918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Pardubic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20 (3.7 %)</a:t>
                      </a:r>
                      <a:endParaRPr lang="cs-CZ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139.7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024758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chemeClr val="bg1"/>
                          </a:solidFill>
                          <a:effectLst/>
                        </a:rPr>
                        <a:t>Plzeňský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bg1"/>
                          </a:solidFill>
                          <a:effectLst/>
                        </a:rPr>
                        <a:t>kraj</a:t>
                      </a:r>
                      <a:endParaRPr lang="cs-CZ" sz="18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</a:rPr>
                        <a:t>110 (3.4 %)</a:t>
                      </a:r>
                      <a:endParaRPr lang="cs-CZ" sz="18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</a:rPr>
                        <a:t>98.8</a:t>
                      </a:r>
                      <a:endParaRPr lang="cs-CZ" sz="18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335869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Liberec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94 (2.9 %)</a:t>
                      </a:r>
                      <a:endParaRPr lang="cs-CZ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27.3</a:t>
                      </a:r>
                      <a:endParaRPr lang="cs-CZ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957238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chemeClr val="bg1"/>
                          </a:solidFill>
                          <a:effectLst/>
                        </a:rPr>
                        <a:t>Královéhradecký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bg1"/>
                          </a:solidFill>
                          <a:effectLst/>
                        </a:rPr>
                        <a:t>kraj</a:t>
                      </a:r>
                      <a:endParaRPr lang="cs-CZ" sz="18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chemeClr val="bg1"/>
                          </a:solidFill>
                          <a:effectLst/>
                        </a:rPr>
                        <a:t>42 (1.3 %)</a:t>
                      </a:r>
                      <a:endParaRPr lang="cs-CZ" sz="18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</a:rPr>
                        <a:t>52.4</a:t>
                      </a:r>
                      <a:endParaRPr lang="cs-CZ" sz="18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559917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chemeClr val="bg1"/>
                          </a:solidFill>
                          <a:effectLst/>
                        </a:rPr>
                        <a:t>Karlovarský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bg1"/>
                          </a:solidFill>
                          <a:effectLst/>
                        </a:rPr>
                        <a:t>kraj</a:t>
                      </a:r>
                      <a:endParaRPr lang="cs-CZ" sz="18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</a:rPr>
                        <a:t>4 (0.1 %)</a:t>
                      </a:r>
                      <a:endParaRPr lang="cs-CZ" sz="18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</a:rPr>
                        <a:t>38.3</a:t>
                      </a:r>
                      <a:endParaRPr lang="cs-CZ" sz="18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082414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ČR</a:t>
                      </a:r>
                      <a:endParaRPr lang="cs-CZ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3,229 (100.0 %)</a:t>
                      </a:r>
                      <a:endParaRPr lang="cs-CZ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150.7</a:t>
                      </a:r>
                      <a:endParaRPr lang="cs-CZ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01452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06326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396728" y="1881031"/>
            <a:ext cx="11368377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nižších hodnot dosahuje incidence v krajích KVK, KHK a PLK – zde již hodnoty začaly klesat pod hranici 100/100 tis. obyvatel za týden. Naopak nejvíce zatížené jsou kraje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ihočeský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</a:t>
            </a:r>
            <a:r>
              <a:rPr lang="cs-CZ" sz="3200" b="1" dirty="0" smtClean="0">
                <a:solidFill>
                  <a:prstClr val="black"/>
                </a:solidFill>
                <a:latin typeface="Calibri" panose="020F0502020204030204"/>
              </a:rPr>
              <a:t>Zlínský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tuace stále není bez rizika, v ČR stále probíhá komunitní šíření viru. Pozitivem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e, že hodnota reprodukčního čísla je ve všech krajích nižší než 1.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cs-CZ" sz="3000" b="1" i="0" u="sng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235425" y="134145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516080" y="116631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klesá ve všech regionech,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šak s velkými rozdíly mezi nimi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235425" y="386974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19080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3602078"/>
            <a:ext cx="5175849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 (zjednodušený výpočet) - 7 denní úseky: srovnání krajů k 2</a:t>
            </a:r>
            <a:r>
              <a:rPr lang="en-US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4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95251827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297973" y="2285370"/>
            <a:ext cx="5028509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dnota reprodukčního čísla je &lt; 1 ve všech regionech.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pidemie klesá, ale stále je v cca polovině regionů na vysokých hodnotách s potenciálem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 růstu. 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71339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Zátěž nemocnic klesá v důsledku klesajícího počtu nákaz zranitelných pacientů </a:t>
            </a:r>
          </a:p>
        </p:txBody>
      </p:sp>
    </p:spTree>
    <p:extLst>
      <p:ext uri="{BB962C8B-B14F-4D97-AF65-F5344CB8AC3E}">
        <p14:creationId xmlns:p14="http://schemas.microsoft.com/office/powerpoint/2010/main" val="24387972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7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9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13</TotalTime>
  <Words>3753</Words>
  <Application>Microsoft Office PowerPoint</Application>
  <PresentationFormat>Širokoúhlá obrazovka</PresentationFormat>
  <Paragraphs>784</Paragraphs>
  <Slides>35</Slides>
  <Notes>14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8</vt:i4>
      </vt:variant>
      <vt:variant>
        <vt:lpstr>Nadpisy snímků</vt:lpstr>
      </vt:variant>
      <vt:variant>
        <vt:i4>35</vt:i4>
      </vt:variant>
    </vt:vector>
  </HeadingPairs>
  <TitlesOfParts>
    <vt:vector size="49" baseType="lpstr">
      <vt:lpstr>Arial (Základní text)</vt:lpstr>
      <vt:lpstr>Arial Black</vt:lpstr>
      <vt:lpstr>Calibri Light</vt:lpstr>
      <vt:lpstr>Arial</vt:lpstr>
      <vt:lpstr>Calibri</vt:lpstr>
      <vt:lpstr>Times New Roman</vt:lpstr>
      <vt:lpstr>1_Motiv Office</vt:lpstr>
      <vt:lpstr>7_Motiv Office</vt:lpstr>
      <vt:lpstr>8_Motiv Office</vt:lpstr>
      <vt:lpstr>12_Motiv Office</vt:lpstr>
      <vt:lpstr>5_Motiv Office</vt:lpstr>
      <vt:lpstr>2_Motiv Office</vt:lpstr>
      <vt:lpstr>2_Office Theme</vt:lpstr>
      <vt:lpstr>Motiv Office</vt:lpstr>
      <vt:lpstr>Datová a informační základna  pro management pandemie COVID-19</vt:lpstr>
      <vt:lpstr>Prezentace aplikace PowerPoint</vt:lpstr>
      <vt:lpstr>Počty nově diagnostikovaných pacientů: týdenní vývoj v ČR</vt:lpstr>
      <vt:lpstr>Datová a informační základna  pro management pandemie COVID-19</vt:lpstr>
      <vt:lpstr>Prezentace aplikace PowerPoint</vt:lpstr>
      <vt:lpstr>Zátěž regionů ve vzájemném srovnání krajů k 27.4. </vt:lpstr>
      <vt:lpstr>Prezentace aplikace PowerPoint</vt:lpstr>
      <vt:lpstr>R (zjednodušený výpočet) - 7 denní úseky: srovnání krajů k 26.4.</vt:lpstr>
      <vt:lpstr>Datová a informační základna  pro management pandemie COVID-19</vt:lpstr>
      <vt:lpstr>Prezentace aplikace PowerPoint</vt:lpstr>
      <vt:lpstr> Aktuální počty hospitalizovaných pacientů klesají a roste i dostupná kapacita lůžek, včetně JIP</vt:lpstr>
      <vt:lpstr>Datová a informační základna  pro management pandemie COVID-19</vt:lpstr>
      <vt:lpstr>Testy ve školách – průběžné výsledky (dle CFA) II </vt:lpstr>
      <vt:lpstr>Prezentace aplikace PowerPoint</vt:lpstr>
      <vt:lpstr>Výsledky testů u dětí 5-11 let mezi 12.4-27.4.2021 v ISIN</vt:lpstr>
      <vt:lpstr>Počty nově COVID-19 pozitivních na 100 testů u dětí v čase</vt:lpstr>
      <vt:lpstr>Počty COVID-19 pozitivních v ČR na 100 000 v populaci</vt:lpstr>
      <vt:lpstr>Nové případy za 7 dní na 100 000 obyvatel: srovnání krajů k 26.4.: 5-11 let</vt:lpstr>
      <vt:lpstr>Datová a informační základna  pro management pandemie COVID-19</vt:lpstr>
      <vt:lpstr>Počet provedených a vykázaných AG testů v ČR 1. 2. – 24. 4. 2021</vt:lpstr>
      <vt:lpstr>Počet provedených a vykázaných PCR testů v ČR 1. 2. – 24. 4. 2021</vt:lpstr>
      <vt:lpstr>Počty pozitivních případů nově diagnostikovaných v březnu dle typu testu </vt:lpstr>
      <vt:lpstr>Pozitivní případy z testů ve firmách, podnicích a institucích </vt:lpstr>
      <vt:lpstr>Prezentace aplikace PowerPoint</vt:lpstr>
      <vt:lpstr>Výrobní závod, kancelář / úřad, ostatní pracoviště   jako ohniska nákazy COVID-19</vt:lpstr>
      <vt:lpstr>Prezentace aplikace PowerPoint</vt:lpstr>
      <vt:lpstr>Zadávání dat o očkování</vt:lpstr>
      <vt:lpstr>Očkování, objednávky a dodávky vakcín</vt:lpstr>
      <vt:lpstr>Přehled dle místa bydliště</vt:lpstr>
      <vt:lpstr>Očkovaní v krajích (podle místa bydliště)</vt:lpstr>
      <vt:lpstr>Postup očkování </vt:lpstr>
      <vt:lpstr>Prioritní skupiny pro očkování – aplikované dávky v čase</vt:lpstr>
      <vt:lpstr>Očkování zdravotnických pracovníků </vt:lpstr>
      <vt:lpstr>Počty pracovníků ve zdravotnictví s nákazou COVID-19</vt:lpstr>
      <vt:lpstr> DĚKUJI ZA POZORNO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Ladislav Dušek</cp:lastModifiedBy>
  <cp:revision>663</cp:revision>
  <dcterms:created xsi:type="dcterms:W3CDTF">2020-11-11T17:36:28Z</dcterms:created>
  <dcterms:modified xsi:type="dcterms:W3CDTF">2021-04-28T09:52:57Z</dcterms:modified>
</cp:coreProperties>
</file>